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heme/theme2.xml" ContentType="application/vnd.openxmlformats-officedocument.theme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heme/theme3.xml" ContentType="application/vnd.openxmlformats-officedocument.theme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15" r:id="rId5"/>
  </p:sldMasterIdLst>
  <p:notesMasterIdLst>
    <p:notesMasterId r:id="rId10"/>
  </p:notesMasterIdLst>
  <p:handoutMasterIdLst>
    <p:handoutMasterId r:id="rId11"/>
  </p:handoutMasterIdLst>
  <p:sldIdLst>
    <p:sldId id="267" r:id="rId6"/>
    <p:sldId id="258" r:id="rId7"/>
    <p:sldId id="259" r:id="rId8"/>
    <p:sldId id="257" r:id="rId9"/>
  </p:sldIdLst>
  <p:sldSz cx="12192000" cy="6858000"/>
  <p:notesSz cx="7099300" cy="10234613"/>
  <p:custDataLst>
    <p:tags r:id="rId12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1pPr>
    <a:lvl2pPr marL="609585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2pPr>
    <a:lvl3pPr marL="121917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3pPr>
    <a:lvl4pPr marL="1828754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4pPr>
    <a:lvl5pPr marL="2438339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5pPr>
    <a:lvl6pPr marL="3047924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6pPr>
    <a:lvl7pPr marL="3657509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7pPr>
    <a:lvl8pPr marL="4267093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8pPr>
    <a:lvl9pPr marL="4876678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187">
          <p15:clr>
            <a:srgbClr val="A4A3A4"/>
          </p15:clr>
        </p15:guide>
        <p15:guide id="2" orient="horz" pos="638">
          <p15:clr>
            <a:srgbClr val="A4A3A4"/>
          </p15:clr>
        </p15:guide>
        <p15:guide id="3" orient="horz" pos="453">
          <p15:clr>
            <a:srgbClr val="A4A3A4"/>
          </p15:clr>
        </p15:guide>
        <p15:guide id="4" orient="horz" pos="6262">
          <p15:clr>
            <a:srgbClr val="A4A3A4"/>
          </p15:clr>
        </p15:guide>
        <p15:guide id="5" pos="4186">
          <p15:clr>
            <a:srgbClr val="A4A3A4"/>
          </p15:clr>
        </p15:guide>
        <p15:guide id="6" pos="286">
          <p15:clr>
            <a:srgbClr val="A4A3A4"/>
          </p15:clr>
        </p15:guide>
        <p15:guide id="7" pos="830">
          <p15:clr>
            <a:srgbClr val="A4A3A4"/>
          </p15:clr>
        </p15:guide>
        <p15:guide id="8" pos="3869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69012ECD-51FC-41F1-AA8D-1B2483CD663E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9525" cmpd="sng">
              <a:solidFill>
                <a:schemeClr val="lt1"/>
              </a:solidFill>
            </a:ln>
          </a:left>
          <a:right>
            <a:ln w="9525" cmpd="sng">
              <a:solidFill>
                <a:srgbClr val="FFFFFF"/>
              </a:solidFill>
            </a:ln>
          </a:right>
          <a:top>
            <a:ln w="9525" cmpd="sng">
              <a:solidFill>
                <a:srgbClr val="FFFFFF"/>
              </a:solidFill>
            </a:ln>
          </a:top>
          <a:bottom>
            <a:ln w="9525" cmpd="sng">
              <a:solidFill>
                <a:srgbClr val="FFFFFF"/>
              </a:solidFill>
            </a:ln>
          </a:bottom>
          <a:insideH>
            <a:ln w="9525" cmpd="sng">
              <a:solidFill>
                <a:srgbClr val="FFFFFF"/>
              </a:solidFill>
            </a:ln>
          </a:insideH>
          <a:insideV>
            <a:ln w="9525" cmpd="sng">
              <a:solidFill>
                <a:srgbClr val="FFFFFF"/>
              </a:solidFill>
            </a:ln>
          </a:insideV>
        </a:tcBdr>
        <a:fill>
          <a:solidFill>
            <a:schemeClr val="lt2"/>
          </a:solidFill>
        </a:fill>
      </a:tcStyle>
    </a:wholeTbl>
    <a:band1H>
      <a:tcStyle>
        <a:tcBdr/>
      </a:tcStyle>
    </a:band1H>
    <a:band2H>
      <a:tcTxStyle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band2H>
    <a:band1V>
      <a:tcStyle>
        <a:tcBdr/>
      </a:tcStyle>
    </a:band1V>
    <a:band2V>
      <a:tcTxStyle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band2V>
    <a:lastCol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lastRow>
    <a:firstRow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14" autoAdjust="0"/>
    <p:restoredTop sz="94696" autoAdjust="0"/>
  </p:normalViewPr>
  <p:slideViewPr>
    <p:cSldViewPr snapToObjects="1" showGuides="1">
      <p:cViewPr varScale="1">
        <p:scale>
          <a:sx n="125" d="100"/>
          <a:sy n="125" d="100"/>
        </p:scale>
        <p:origin x="168" y="91"/>
      </p:cViewPr>
      <p:guideLst>
        <p:guide pos="3840"/>
        <p:guide orient="horz"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Objects="1" showGuides="1">
      <p:cViewPr varScale="1">
        <p:scale>
          <a:sx n="70" d="100"/>
          <a:sy n="70" d="100"/>
        </p:scale>
        <p:origin x="2268" y="42"/>
      </p:cViewPr>
      <p:guideLst>
        <p:guide orient="horz" pos="187"/>
        <p:guide orient="horz" pos="638"/>
        <p:guide orient="horz" pos="453"/>
        <p:guide orient="horz" pos="6262"/>
        <p:guide pos="4186"/>
        <p:guide pos="286"/>
        <p:guide pos="830"/>
        <p:guide pos="3869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handoutMaster" Target="handoutMasters/handoutMaster1.xml"/><Relationship Id="rId5" Type="http://schemas.openxmlformats.org/officeDocument/2006/relationships/slideMaster" Target="slideMasters/slideMaster1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10.xml"/><Relationship Id="rId3" Type="http://schemas.openxmlformats.org/officeDocument/2006/relationships/tags" Target="../tags/tag205.xml"/><Relationship Id="rId7" Type="http://schemas.openxmlformats.org/officeDocument/2006/relationships/tags" Target="../tags/tag209.xml"/><Relationship Id="rId12" Type="http://schemas.openxmlformats.org/officeDocument/2006/relationships/image" Target="../media/image3.png"/><Relationship Id="rId2" Type="http://schemas.openxmlformats.org/officeDocument/2006/relationships/tags" Target="../tags/tag204.xml"/><Relationship Id="rId1" Type="http://schemas.openxmlformats.org/officeDocument/2006/relationships/theme" Target="../theme/theme3.xml"/><Relationship Id="rId6" Type="http://schemas.openxmlformats.org/officeDocument/2006/relationships/tags" Target="../tags/tag208.xml"/><Relationship Id="rId11" Type="http://schemas.openxmlformats.org/officeDocument/2006/relationships/tags" Target="../tags/tag213.xml"/><Relationship Id="rId5" Type="http://schemas.openxmlformats.org/officeDocument/2006/relationships/tags" Target="../tags/tag207.xml"/><Relationship Id="rId10" Type="http://schemas.openxmlformats.org/officeDocument/2006/relationships/tags" Target="../tags/tag212.xml"/><Relationship Id="rId4" Type="http://schemas.openxmlformats.org/officeDocument/2006/relationships/tags" Target="../tags/tag206.xml"/><Relationship Id="rId9" Type="http://schemas.openxmlformats.org/officeDocument/2006/relationships/tags" Target="../tags/tag21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Header Placeholder" hidden="1"/>
          <p:cNvSpPr>
            <a:spLocks noGrp="1" noChangeArrowheads="1"/>
          </p:cNvSpPr>
          <p:nvPr>
            <p:ph type="hdr" sz="quarter"/>
            <p:custDataLst>
              <p:tags r:id="rId2"/>
            </p:custDataLst>
          </p:nvPr>
        </p:nvSpPr>
        <p:spPr bwMode="auto">
          <a:xfrm>
            <a:off x="7099300" y="0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defTabSz="955819">
              <a:defRPr sz="1200">
                <a:latin typeface="Tahoma" pitchFamily="34" charset="0"/>
              </a:defRPr>
            </a:lvl1pPr>
          </a:lstStyle>
          <a:p>
            <a:endParaRPr lang="en-US" sz="100" dirty="0">
              <a:noFill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Footer Placeholder" hidden="1"/>
          <p:cNvSpPr>
            <a:spLocks noGrp="1"/>
          </p:cNvSpPr>
          <p:nvPr>
            <p:ph type="ftr" sz="quarter" idx="2"/>
            <p:custDataLst>
              <p:tags r:id="rId3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/>
            </a:lvl1pPr>
          </a:lstStyle>
          <a:p>
            <a:pPr algn="ctr"/>
            <a:r>
              <a:rPr lang="en-US" sz="100" dirty="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pPr algn="ctr"/>
            <a:r>
              <a:rPr lang="en-US" sz="100" b="1" dirty="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9" name="Date Placeholder" hidden="1"/>
          <p:cNvSpPr>
            <a:spLocks noGrp="1"/>
          </p:cNvSpPr>
          <p:nvPr>
            <p:ph type="dt" sz="quarter" idx="1"/>
            <p:custDataLst>
              <p:tags r:id="rId4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/>
            </a:lvl1pPr>
          </a:lstStyle>
          <a:p>
            <a:pPr algn="l"/>
            <a:r>
              <a:rPr lang="en-US" sz="100" dirty="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2020-09-28</a:t>
            </a:r>
          </a:p>
          <a:p>
            <a:pPr algn="l"/>
            <a:endParaRPr lang="en-US" sz="100" dirty="0">
              <a:noFill/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0" name="Slide Number Placeholder"/>
          <p:cNvSpPr>
            <a:spLocks noGrp="1"/>
          </p:cNvSpPr>
          <p:nvPr>
            <p:ph type="sldNum" sz="quarter" idx="3"/>
          </p:nvPr>
        </p:nvSpPr>
        <p:spPr>
          <a:xfrm>
            <a:off x="5997922" y="9833798"/>
            <a:ext cx="6120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/>
            </a:lvl1pPr>
          </a:lstStyle>
          <a:p>
            <a:fld id="{4F5EA4BF-E9AE-43AF-B3B0-E8B2B4D213BF}" type="slidenum">
              <a:rPr lang="en-US" sz="80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pPr/>
              <a:t>‹#›</a:t>
            </a:fld>
            <a:endParaRPr lang="en-US" sz="80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2" name="empower_document_placeholder" hidden="1">
            <a:extLst>
              <a:ext uri="{FF2B5EF4-FFF2-40B4-BE49-F238E27FC236}">
                <a16:creationId xmlns:a16="http://schemas.microsoft.com/office/drawing/2014/main" id="{AB77BC53-8E05-4977-B193-6A6AD69A870A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89310" y="426585"/>
            <a:ext cx="259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[Owner:   Doc ID:   Vers.: ]</a:t>
            </a:r>
            <a:endParaRPr lang="de-DE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3" name="empower_proprietary_placeholder" hidden="1">
            <a:extLst>
              <a:ext uri="{FF2B5EF4-FFF2-40B4-BE49-F238E27FC236}">
                <a16:creationId xmlns:a16="http://schemas.microsoft.com/office/drawing/2014/main" id="{8A3F532B-9233-4B6C-A1AE-20F78C1A46B8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5637922" y="9545798"/>
            <a:ext cx="97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Infineon Proprietary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4" name="empower_draft_placeholder" hidden="1">
            <a:extLst>
              <a:ext uri="{FF2B5EF4-FFF2-40B4-BE49-F238E27FC236}">
                <a16:creationId xmlns:a16="http://schemas.microsoft.com/office/drawing/2014/main" id="{707F235E-2AB2-45AA-AAE4-3CA5D9E6B283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 bwMode="auto">
          <a:xfrm>
            <a:off x="489310" y="9545798"/>
            <a:ext cx="360362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- DRAFT -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5" name="empower_footer_placeholder">
            <a:extLst>
              <a:ext uri="{FF2B5EF4-FFF2-40B4-BE49-F238E27FC236}">
                <a16:creationId xmlns:a16="http://schemas.microsoft.com/office/drawing/2014/main" id="{5B6337D7-EF4A-437B-98C9-7A76CBDDE797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2001479" y="9833798"/>
            <a:ext cx="3096343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3. All rights reserved.</a:t>
            </a:r>
            <a:endParaRPr lang="en-US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6" name="empower_classification_attention_placeholder" hidden="1">
            <a:extLst>
              <a:ext uri="{FF2B5EF4-FFF2-40B4-BE49-F238E27FC236}">
                <a16:creationId xmlns:a16="http://schemas.microsoft.com/office/drawing/2014/main" id="{07AA87B6-2D72-4228-A7D0-DDCA437050BF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 bwMode="auto">
          <a:xfrm>
            <a:off x="3063723" y="426585"/>
            <a:ext cx="971855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6" name="empower_classification_placeholder">
            <a:extLst>
              <a:ext uri="{FF2B5EF4-FFF2-40B4-BE49-F238E27FC236}">
                <a16:creationId xmlns:a16="http://schemas.microsoft.com/office/drawing/2014/main" id="{162FD7ED-CC36-4F26-ADD4-95B9EFF2AE3D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 bwMode="auto">
          <a:xfrm>
            <a:off x="3062327" y="426585"/>
            <a:ext cx="973251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 dirty="0" err="1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4" name="empower_date_placeholder">
            <a:extLst>
              <a:ext uri="{FF2B5EF4-FFF2-40B4-BE49-F238E27FC236}">
                <a16:creationId xmlns:a16="http://schemas.microsoft.com/office/drawing/2014/main" id="{17C46F5C-5E8F-4CC2-80E6-B88261E13B5B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89309" y="9833798"/>
            <a:ext cx="61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18 Mrz 2023</a:t>
            </a:r>
            <a:endParaRPr lang="de-DE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pic>
        <p:nvPicPr>
          <p:cNvPr id="26" name="Logo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5657072" y="295163"/>
            <a:ext cx="880886" cy="419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594286928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00.xml"/><Relationship Id="rId3" Type="http://schemas.openxmlformats.org/officeDocument/2006/relationships/tags" Target="../tags/tag195.xml"/><Relationship Id="rId7" Type="http://schemas.openxmlformats.org/officeDocument/2006/relationships/tags" Target="../tags/tag199.xml"/><Relationship Id="rId12" Type="http://schemas.openxmlformats.org/officeDocument/2006/relationships/image" Target="../media/image3.png"/><Relationship Id="rId2" Type="http://schemas.openxmlformats.org/officeDocument/2006/relationships/tags" Target="../tags/tag194.xml"/><Relationship Id="rId1" Type="http://schemas.openxmlformats.org/officeDocument/2006/relationships/theme" Target="../theme/theme2.xml"/><Relationship Id="rId6" Type="http://schemas.openxmlformats.org/officeDocument/2006/relationships/tags" Target="../tags/tag198.xml"/><Relationship Id="rId11" Type="http://schemas.openxmlformats.org/officeDocument/2006/relationships/tags" Target="../tags/tag203.xml"/><Relationship Id="rId5" Type="http://schemas.openxmlformats.org/officeDocument/2006/relationships/tags" Target="../tags/tag197.xml"/><Relationship Id="rId10" Type="http://schemas.openxmlformats.org/officeDocument/2006/relationships/tags" Target="../tags/tag202.xml"/><Relationship Id="rId4" Type="http://schemas.openxmlformats.org/officeDocument/2006/relationships/tags" Target="../tags/tag196.xml"/><Relationship Id="rId9" Type="http://schemas.openxmlformats.org/officeDocument/2006/relationships/tags" Target="../tags/tag20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6" name="Slide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54025" y="1012825"/>
            <a:ext cx="6191250" cy="34829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84997" name="Notes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453306" y="4757266"/>
            <a:ext cx="6191968" cy="4783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Enter Notes</a:t>
            </a:r>
          </a:p>
        </p:txBody>
      </p:sp>
      <p:sp>
        <p:nvSpPr>
          <p:cNvPr id="28" name="Header Placeholder" hidden="1"/>
          <p:cNvSpPr>
            <a:spLocks noGrp="1" noChangeArrowheads="1"/>
          </p:cNvSpPr>
          <p:nvPr>
            <p:ph type="hdr" sz="quarter"/>
            <p:custDataLst>
              <p:tags r:id="rId2"/>
            </p:custDataLst>
          </p:nvPr>
        </p:nvSpPr>
        <p:spPr bwMode="auto">
          <a:xfrm>
            <a:off x="7099300" y="0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defTabSz="955819">
              <a:defRPr sz="100">
                <a:noFill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sz="100" dirty="0"/>
          </a:p>
        </p:txBody>
      </p:sp>
      <p:sp>
        <p:nvSpPr>
          <p:cNvPr id="10" name="Footer Placeholder" hidden="1"/>
          <p:cNvSpPr>
            <a:spLocks noGrp="1"/>
          </p:cNvSpPr>
          <p:nvPr>
            <p:ph type="ftr" sz="quarter" idx="4"/>
            <p:custDataLst>
              <p:tags r:id="rId3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">
                <a:noFill/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11" name="Date Placeholder" hidden="1"/>
          <p:cNvSpPr>
            <a:spLocks noGrp="1"/>
          </p:cNvSpPr>
          <p:nvPr>
            <p:ph type="dt" idx="1"/>
            <p:custDataLst>
              <p:tags r:id="rId4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2020-09-28</a:t>
            </a:r>
          </a:p>
          <a:p>
            <a:endParaRPr lang="en-US" dirty="0"/>
          </a:p>
        </p:txBody>
      </p:sp>
      <p:sp>
        <p:nvSpPr>
          <p:cNvPr id="12" name="Slide Number Placeholder"/>
          <p:cNvSpPr>
            <a:spLocks noGrp="1"/>
          </p:cNvSpPr>
          <p:nvPr>
            <p:ph type="sldNum" sz="quarter" idx="5"/>
          </p:nvPr>
        </p:nvSpPr>
        <p:spPr>
          <a:xfrm>
            <a:off x="6033274" y="9833798"/>
            <a:ext cx="6120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rgbClr val="928285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4165D906-55BD-49C5-997D-27A40DB53D15}" type="slidenum"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empower_document_placeholder" hidden="1">
            <a:extLst>
              <a:ext uri="{FF2B5EF4-FFF2-40B4-BE49-F238E27FC236}">
                <a16:creationId xmlns:a16="http://schemas.microsoft.com/office/drawing/2014/main" id="{E8AE2277-2635-47CE-8461-F921E010AD6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53306" y="426585"/>
            <a:ext cx="259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[Owner:   Doc ID:   Vers.: ]</a:t>
            </a:r>
            <a:endParaRPr lang="de-DE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3" name="empower_proprietary_placeholder" hidden="1">
            <a:extLst>
              <a:ext uri="{FF2B5EF4-FFF2-40B4-BE49-F238E27FC236}">
                <a16:creationId xmlns:a16="http://schemas.microsoft.com/office/drawing/2014/main" id="{1ED6373F-3656-4DFD-9B9C-BC0ABABA2CBF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5673274" y="9545798"/>
            <a:ext cx="97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Infineon Proprietary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4" name="empower_draft_placeholder" hidden="1">
            <a:extLst>
              <a:ext uri="{FF2B5EF4-FFF2-40B4-BE49-F238E27FC236}">
                <a16:creationId xmlns:a16="http://schemas.microsoft.com/office/drawing/2014/main" id="{3D3123B4-E08C-4CCD-9703-AD1F689F1FB7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 bwMode="auto">
          <a:xfrm>
            <a:off x="453306" y="9545798"/>
            <a:ext cx="360362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- DRAFT -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5" name="empower_footer_placeholder">
            <a:extLst>
              <a:ext uri="{FF2B5EF4-FFF2-40B4-BE49-F238E27FC236}">
                <a16:creationId xmlns:a16="http://schemas.microsoft.com/office/drawing/2014/main" id="{7E51E007-F5B3-45C7-900F-9B0FFE9F37F6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2001479" y="9833798"/>
            <a:ext cx="3096343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3. All rights reserved.</a:t>
            </a:r>
            <a:endParaRPr lang="en-US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6" name="empower_classification_attention_placeholder" hidden="1">
            <a:extLst>
              <a:ext uri="{FF2B5EF4-FFF2-40B4-BE49-F238E27FC236}">
                <a16:creationId xmlns:a16="http://schemas.microsoft.com/office/drawing/2014/main" id="{CD1E0C77-9862-4B96-A3C1-8F3320EB5330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 bwMode="auto">
          <a:xfrm>
            <a:off x="3063723" y="426585"/>
            <a:ext cx="971855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7" name="empower_classification_placeholder">
            <a:extLst>
              <a:ext uri="{FF2B5EF4-FFF2-40B4-BE49-F238E27FC236}">
                <a16:creationId xmlns:a16="http://schemas.microsoft.com/office/drawing/2014/main" id="{9F464BB7-63C3-4B8A-A50E-5FC32FA6A18F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 bwMode="auto">
          <a:xfrm>
            <a:off x="3062327" y="426585"/>
            <a:ext cx="973251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 dirty="0" err="1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8" name="empower_date_placeholder">
            <a:extLst>
              <a:ext uri="{FF2B5EF4-FFF2-40B4-BE49-F238E27FC236}">
                <a16:creationId xmlns:a16="http://schemas.microsoft.com/office/drawing/2014/main" id="{7E930412-6BBA-43BF-B0D5-11DDE46E471E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3306" y="9833798"/>
            <a:ext cx="61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18 Mrz 2023</a:t>
            </a:r>
            <a:endParaRPr lang="de-DE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pic>
        <p:nvPicPr>
          <p:cNvPr id="32" name="Logo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5657072" y="295163"/>
            <a:ext cx="880886" cy="419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2300418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609585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2pPr>
    <a:lvl3pPr marL="1219170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3pPr>
    <a:lvl4pPr marL="1828754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4pPr>
    <a:lvl5pPr marL="2438339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12" Type="http://schemas.openxmlformats.org/officeDocument/2006/relationships/image" Target="../media/image1.jp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10.xml"/><Relationship Id="rId10" Type="http://schemas.openxmlformats.org/officeDocument/2006/relationships/tags" Target="../tags/tag15.xml"/><Relationship Id="rId4" Type="http://schemas.openxmlformats.org/officeDocument/2006/relationships/tags" Target="../tags/tag9.xml"/><Relationship Id="rId9" Type="http://schemas.openxmlformats.org/officeDocument/2006/relationships/tags" Target="../tags/tag14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102.xml"/><Relationship Id="rId13" Type="http://schemas.openxmlformats.org/officeDocument/2006/relationships/tags" Target="../tags/tag107.xml"/><Relationship Id="rId3" Type="http://schemas.openxmlformats.org/officeDocument/2006/relationships/tags" Target="../tags/tag97.xml"/><Relationship Id="rId7" Type="http://schemas.openxmlformats.org/officeDocument/2006/relationships/tags" Target="../tags/tag101.xml"/><Relationship Id="rId12" Type="http://schemas.openxmlformats.org/officeDocument/2006/relationships/tags" Target="../tags/tag106.xml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6" Type="http://schemas.openxmlformats.org/officeDocument/2006/relationships/tags" Target="../tags/tag100.xml"/><Relationship Id="rId11" Type="http://schemas.openxmlformats.org/officeDocument/2006/relationships/tags" Target="../tags/tag105.xml"/><Relationship Id="rId5" Type="http://schemas.openxmlformats.org/officeDocument/2006/relationships/tags" Target="../tags/tag99.xml"/><Relationship Id="rId10" Type="http://schemas.openxmlformats.org/officeDocument/2006/relationships/tags" Target="../tags/tag104.xml"/><Relationship Id="rId4" Type="http://schemas.openxmlformats.org/officeDocument/2006/relationships/tags" Target="../tags/tag98.xml"/><Relationship Id="rId9" Type="http://schemas.openxmlformats.org/officeDocument/2006/relationships/tags" Target="../tags/tag103.xml"/><Relationship Id="rId1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15.xml"/><Relationship Id="rId13" Type="http://schemas.openxmlformats.org/officeDocument/2006/relationships/tags" Target="../tags/tag120.xml"/><Relationship Id="rId3" Type="http://schemas.openxmlformats.org/officeDocument/2006/relationships/tags" Target="../tags/tag110.xml"/><Relationship Id="rId7" Type="http://schemas.openxmlformats.org/officeDocument/2006/relationships/tags" Target="../tags/tag114.xml"/><Relationship Id="rId12" Type="http://schemas.openxmlformats.org/officeDocument/2006/relationships/tags" Target="../tags/tag119.xml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6" Type="http://schemas.openxmlformats.org/officeDocument/2006/relationships/tags" Target="../tags/tag113.xml"/><Relationship Id="rId11" Type="http://schemas.openxmlformats.org/officeDocument/2006/relationships/tags" Target="../tags/tag118.xml"/><Relationship Id="rId5" Type="http://schemas.openxmlformats.org/officeDocument/2006/relationships/tags" Target="../tags/tag112.xml"/><Relationship Id="rId10" Type="http://schemas.openxmlformats.org/officeDocument/2006/relationships/tags" Target="../tags/tag117.xml"/><Relationship Id="rId4" Type="http://schemas.openxmlformats.org/officeDocument/2006/relationships/tags" Target="../tags/tag111.xml"/><Relationship Id="rId9" Type="http://schemas.openxmlformats.org/officeDocument/2006/relationships/tags" Target="../tags/tag116.xml"/><Relationship Id="rId1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128.xml"/><Relationship Id="rId13" Type="http://schemas.openxmlformats.org/officeDocument/2006/relationships/tags" Target="../tags/tag133.xml"/><Relationship Id="rId3" Type="http://schemas.openxmlformats.org/officeDocument/2006/relationships/tags" Target="../tags/tag123.xml"/><Relationship Id="rId7" Type="http://schemas.openxmlformats.org/officeDocument/2006/relationships/tags" Target="../tags/tag127.xml"/><Relationship Id="rId12" Type="http://schemas.openxmlformats.org/officeDocument/2006/relationships/tags" Target="../tags/tag132.xml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6" Type="http://schemas.openxmlformats.org/officeDocument/2006/relationships/tags" Target="../tags/tag126.xml"/><Relationship Id="rId11" Type="http://schemas.openxmlformats.org/officeDocument/2006/relationships/tags" Target="../tags/tag131.xml"/><Relationship Id="rId5" Type="http://schemas.openxmlformats.org/officeDocument/2006/relationships/tags" Target="../tags/tag125.xml"/><Relationship Id="rId10" Type="http://schemas.openxmlformats.org/officeDocument/2006/relationships/tags" Target="../tags/tag130.xml"/><Relationship Id="rId4" Type="http://schemas.openxmlformats.org/officeDocument/2006/relationships/tags" Target="../tags/tag124.xml"/><Relationship Id="rId9" Type="http://schemas.openxmlformats.org/officeDocument/2006/relationships/tags" Target="../tags/tag129.xml"/><Relationship Id="rId1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141.xml"/><Relationship Id="rId13" Type="http://schemas.openxmlformats.org/officeDocument/2006/relationships/tags" Target="../tags/tag146.xml"/><Relationship Id="rId3" Type="http://schemas.openxmlformats.org/officeDocument/2006/relationships/tags" Target="../tags/tag136.xml"/><Relationship Id="rId7" Type="http://schemas.openxmlformats.org/officeDocument/2006/relationships/tags" Target="../tags/tag140.xml"/><Relationship Id="rId12" Type="http://schemas.openxmlformats.org/officeDocument/2006/relationships/tags" Target="../tags/tag145.xml"/><Relationship Id="rId2" Type="http://schemas.openxmlformats.org/officeDocument/2006/relationships/tags" Target="../tags/tag135.xml"/><Relationship Id="rId1" Type="http://schemas.openxmlformats.org/officeDocument/2006/relationships/tags" Target="../tags/tag134.xml"/><Relationship Id="rId6" Type="http://schemas.openxmlformats.org/officeDocument/2006/relationships/tags" Target="../tags/tag139.xml"/><Relationship Id="rId11" Type="http://schemas.openxmlformats.org/officeDocument/2006/relationships/tags" Target="../tags/tag144.xml"/><Relationship Id="rId5" Type="http://schemas.openxmlformats.org/officeDocument/2006/relationships/tags" Target="../tags/tag138.xml"/><Relationship Id="rId10" Type="http://schemas.openxmlformats.org/officeDocument/2006/relationships/tags" Target="../tags/tag143.xml"/><Relationship Id="rId4" Type="http://schemas.openxmlformats.org/officeDocument/2006/relationships/tags" Target="../tags/tag137.xml"/><Relationship Id="rId9" Type="http://schemas.openxmlformats.org/officeDocument/2006/relationships/tags" Target="../tags/tag142.xml"/><Relationship Id="rId1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154.xml"/><Relationship Id="rId13" Type="http://schemas.openxmlformats.org/officeDocument/2006/relationships/tags" Target="../tags/tag159.xml"/><Relationship Id="rId3" Type="http://schemas.openxmlformats.org/officeDocument/2006/relationships/tags" Target="../tags/tag149.xml"/><Relationship Id="rId7" Type="http://schemas.openxmlformats.org/officeDocument/2006/relationships/tags" Target="../tags/tag153.xml"/><Relationship Id="rId12" Type="http://schemas.openxmlformats.org/officeDocument/2006/relationships/tags" Target="../tags/tag158.xml"/><Relationship Id="rId2" Type="http://schemas.openxmlformats.org/officeDocument/2006/relationships/tags" Target="../tags/tag148.xml"/><Relationship Id="rId1" Type="http://schemas.openxmlformats.org/officeDocument/2006/relationships/tags" Target="../tags/tag147.xml"/><Relationship Id="rId6" Type="http://schemas.openxmlformats.org/officeDocument/2006/relationships/tags" Target="../tags/tag152.xml"/><Relationship Id="rId11" Type="http://schemas.openxmlformats.org/officeDocument/2006/relationships/tags" Target="../tags/tag157.xml"/><Relationship Id="rId5" Type="http://schemas.openxmlformats.org/officeDocument/2006/relationships/tags" Target="../tags/tag151.xml"/><Relationship Id="rId10" Type="http://schemas.openxmlformats.org/officeDocument/2006/relationships/tags" Target="../tags/tag156.xml"/><Relationship Id="rId4" Type="http://schemas.openxmlformats.org/officeDocument/2006/relationships/tags" Target="../tags/tag150.xml"/><Relationship Id="rId9" Type="http://schemas.openxmlformats.org/officeDocument/2006/relationships/tags" Target="../tags/tag155.xml"/><Relationship Id="rId1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67.xml"/><Relationship Id="rId13" Type="http://schemas.openxmlformats.org/officeDocument/2006/relationships/tags" Target="../tags/tag172.xml"/><Relationship Id="rId3" Type="http://schemas.openxmlformats.org/officeDocument/2006/relationships/tags" Target="../tags/tag162.xml"/><Relationship Id="rId7" Type="http://schemas.openxmlformats.org/officeDocument/2006/relationships/tags" Target="../tags/tag166.xml"/><Relationship Id="rId12" Type="http://schemas.openxmlformats.org/officeDocument/2006/relationships/tags" Target="../tags/tag171.xml"/><Relationship Id="rId2" Type="http://schemas.openxmlformats.org/officeDocument/2006/relationships/tags" Target="../tags/tag161.xml"/><Relationship Id="rId1" Type="http://schemas.openxmlformats.org/officeDocument/2006/relationships/tags" Target="../tags/tag160.xml"/><Relationship Id="rId6" Type="http://schemas.openxmlformats.org/officeDocument/2006/relationships/tags" Target="../tags/tag165.xml"/><Relationship Id="rId11" Type="http://schemas.openxmlformats.org/officeDocument/2006/relationships/tags" Target="../tags/tag170.xml"/><Relationship Id="rId5" Type="http://schemas.openxmlformats.org/officeDocument/2006/relationships/tags" Target="../tags/tag164.xml"/><Relationship Id="rId10" Type="http://schemas.openxmlformats.org/officeDocument/2006/relationships/tags" Target="../tags/tag169.xml"/><Relationship Id="rId4" Type="http://schemas.openxmlformats.org/officeDocument/2006/relationships/tags" Target="../tags/tag163.xml"/><Relationship Id="rId9" Type="http://schemas.openxmlformats.org/officeDocument/2006/relationships/tags" Target="../tags/tag168.xml"/><Relationship Id="rId1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80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175.xml"/><Relationship Id="rId7" Type="http://schemas.openxmlformats.org/officeDocument/2006/relationships/tags" Target="../tags/tag179.xml"/><Relationship Id="rId12" Type="http://schemas.openxmlformats.org/officeDocument/2006/relationships/tags" Target="../tags/tag184.xml"/><Relationship Id="rId2" Type="http://schemas.openxmlformats.org/officeDocument/2006/relationships/tags" Target="../tags/tag174.xml"/><Relationship Id="rId1" Type="http://schemas.openxmlformats.org/officeDocument/2006/relationships/tags" Target="../tags/tag173.xml"/><Relationship Id="rId6" Type="http://schemas.openxmlformats.org/officeDocument/2006/relationships/tags" Target="../tags/tag178.xml"/><Relationship Id="rId11" Type="http://schemas.openxmlformats.org/officeDocument/2006/relationships/tags" Target="../tags/tag183.xml"/><Relationship Id="rId5" Type="http://schemas.openxmlformats.org/officeDocument/2006/relationships/tags" Target="../tags/tag177.xml"/><Relationship Id="rId10" Type="http://schemas.openxmlformats.org/officeDocument/2006/relationships/tags" Target="../tags/tag182.xml"/><Relationship Id="rId4" Type="http://schemas.openxmlformats.org/officeDocument/2006/relationships/tags" Target="../tags/tag176.xml"/><Relationship Id="rId9" Type="http://schemas.openxmlformats.org/officeDocument/2006/relationships/tags" Target="../tags/tag18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87.xml"/><Relationship Id="rId2" Type="http://schemas.openxmlformats.org/officeDocument/2006/relationships/tags" Target="../tags/tag186.xml"/><Relationship Id="rId1" Type="http://schemas.openxmlformats.org/officeDocument/2006/relationships/tags" Target="../tags/tag185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88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91.xml"/><Relationship Id="rId2" Type="http://schemas.openxmlformats.org/officeDocument/2006/relationships/tags" Target="../tags/tag190.xml"/><Relationship Id="rId1" Type="http://schemas.openxmlformats.org/officeDocument/2006/relationships/tags" Target="../tags/tag189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93.xml"/><Relationship Id="rId4" Type="http://schemas.openxmlformats.org/officeDocument/2006/relationships/tags" Target="../tags/tag192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23.xml"/><Relationship Id="rId3" Type="http://schemas.openxmlformats.org/officeDocument/2006/relationships/tags" Target="../tags/tag18.xml"/><Relationship Id="rId7" Type="http://schemas.openxmlformats.org/officeDocument/2006/relationships/tags" Target="../tags/tag22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tags" Target="../tags/tag21.xml"/><Relationship Id="rId11" Type="http://schemas.openxmlformats.org/officeDocument/2006/relationships/image" Target="../media/image2.jpg"/><Relationship Id="rId5" Type="http://schemas.openxmlformats.org/officeDocument/2006/relationships/tags" Target="../tags/tag20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9.xml"/><Relationship Id="rId9" Type="http://schemas.openxmlformats.org/officeDocument/2006/relationships/tags" Target="../tags/tag24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32.xml"/><Relationship Id="rId3" Type="http://schemas.openxmlformats.org/officeDocument/2006/relationships/tags" Target="../tags/tag27.xml"/><Relationship Id="rId7" Type="http://schemas.openxmlformats.org/officeDocument/2006/relationships/tags" Target="../tags/tag31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tags" Target="../tags/tag30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9.xml"/><Relationship Id="rId10" Type="http://schemas.openxmlformats.org/officeDocument/2006/relationships/tags" Target="../tags/tag34.xml"/><Relationship Id="rId4" Type="http://schemas.openxmlformats.org/officeDocument/2006/relationships/tags" Target="../tags/tag28.xml"/><Relationship Id="rId9" Type="http://schemas.openxmlformats.org/officeDocument/2006/relationships/tags" Target="../tags/tag33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42.xml"/><Relationship Id="rId13" Type="http://schemas.openxmlformats.org/officeDocument/2006/relationships/tags" Target="../tags/tag47.xml"/><Relationship Id="rId3" Type="http://schemas.openxmlformats.org/officeDocument/2006/relationships/tags" Target="../tags/tag37.xml"/><Relationship Id="rId7" Type="http://schemas.openxmlformats.org/officeDocument/2006/relationships/tags" Target="../tags/tag41.xml"/><Relationship Id="rId12" Type="http://schemas.openxmlformats.org/officeDocument/2006/relationships/tags" Target="../tags/tag46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tags" Target="../tags/tag40.xml"/><Relationship Id="rId11" Type="http://schemas.openxmlformats.org/officeDocument/2006/relationships/tags" Target="../tags/tag45.xml"/><Relationship Id="rId5" Type="http://schemas.openxmlformats.org/officeDocument/2006/relationships/tags" Target="../tags/tag39.xml"/><Relationship Id="rId10" Type="http://schemas.openxmlformats.org/officeDocument/2006/relationships/tags" Target="../tags/tag44.xml"/><Relationship Id="rId4" Type="http://schemas.openxmlformats.org/officeDocument/2006/relationships/tags" Target="../tags/tag38.xml"/><Relationship Id="rId9" Type="http://schemas.openxmlformats.org/officeDocument/2006/relationships/tags" Target="../tags/tag43.xml"/><Relationship Id="rId1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55.xml"/><Relationship Id="rId13" Type="http://schemas.openxmlformats.org/officeDocument/2006/relationships/tags" Target="../tags/tag60.xml"/><Relationship Id="rId3" Type="http://schemas.openxmlformats.org/officeDocument/2006/relationships/tags" Target="../tags/tag50.xml"/><Relationship Id="rId7" Type="http://schemas.openxmlformats.org/officeDocument/2006/relationships/tags" Target="../tags/tag54.xml"/><Relationship Id="rId12" Type="http://schemas.openxmlformats.org/officeDocument/2006/relationships/tags" Target="../tags/tag59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tags" Target="../tags/tag53.xml"/><Relationship Id="rId11" Type="http://schemas.openxmlformats.org/officeDocument/2006/relationships/tags" Target="../tags/tag58.xml"/><Relationship Id="rId5" Type="http://schemas.openxmlformats.org/officeDocument/2006/relationships/tags" Target="../tags/tag52.xml"/><Relationship Id="rId10" Type="http://schemas.openxmlformats.org/officeDocument/2006/relationships/tags" Target="../tags/tag57.xml"/><Relationship Id="rId4" Type="http://schemas.openxmlformats.org/officeDocument/2006/relationships/tags" Target="../tags/tag51.xml"/><Relationship Id="rId9" Type="http://schemas.openxmlformats.org/officeDocument/2006/relationships/tags" Target="../tags/tag56.xml"/><Relationship Id="rId1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68.xml"/><Relationship Id="rId13" Type="http://schemas.openxmlformats.org/officeDocument/2006/relationships/tags" Target="../tags/tag73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12" Type="http://schemas.openxmlformats.org/officeDocument/2006/relationships/tags" Target="../tags/tag72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11" Type="http://schemas.openxmlformats.org/officeDocument/2006/relationships/tags" Target="../tags/tag71.xml"/><Relationship Id="rId5" Type="http://schemas.openxmlformats.org/officeDocument/2006/relationships/tags" Target="../tags/tag65.xml"/><Relationship Id="rId10" Type="http://schemas.openxmlformats.org/officeDocument/2006/relationships/tags" Target="../tags/tag70.xml"/><Relationship Id="rId4" Type="http://schemas.openxmlformats.org/officeDocument/2006/relationships/tags" Target="../tags/tag64.xml"/><Relationship Id="rId9" Type="http://schemas.openxmlformats.org/officeDocument/2006/relationships/tags" Target="../tags/tag69.xml"/><Relationship Id="rId1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8.xml"/><Relationship Id="rId4" Type="http://schemas.openxmlformats.org/officeDocument/2006/relationships/tags" Target="../tags/tag77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81.xml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9.xml"/><Relationship Id="rId13" Type="http://schemas.openxmlformats.org/officeDocument/2006/relationships/tags" Target="../tags/tag94.xml"/><Relationship Id="rId3" Type="http://schemas.openxmlformats.org/officeDocument/2006/relationships/tags" Target="../tags/tag84.xml"/><Relationship Id="rId7" Type="http://schemas.openxmlformats.org/officeDocument/2006/relationships/tags" Target="../tags/tag88.xml"/><Relationship Id="rId12" Type="http://schemas.openxmlformats.org/officeDocument/2006/relationships/tags" Target="../tags/tag93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6" Type="http://schemas.openxmlformats.org/officeDocument/2006/relationships/tags" Target="../tags/tag87.xml"/><Relationship Id="rId11" Type="http://schemas.openxmlformats.org/officeDocument/2006/relationships/tags" Target="../tags/tag92.xml"/><Relationship Id="rId5" Type="http://schemas.openxmlformats.org/officeDocument/2006/relationships/tags" Target="../tags/tag86.xml"/><Relationship Id="rId10" Type="http://schemas.openxmlformats.org/officeDocument/2006/relationships/tags" Target="../tags/tag91.xml"/><Relationship Id="rId4" Type="http://schemas.openxmlformats.org/officeDocument/2006/relationships/tags" Target="../tags/tag85.xml"/><Relationship Id="rId9" Type="http://schemas.openxmlformats.org/officeDocument/2006/relationships/tags" Target="../tags/tag90.xml"/><Relationship Id="rId1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LOGO PROTECTION" hidden="1">
            <a:extLst>
              <a:ext uri="{FF2B5EF4-FFF2-40B4-BE49-F238E27FC236}">
                <a16:creationId xmlns:a16="http://schemas.microsoft.com/office/drawing/2014/main" id="{193C101A-31DD-4FCB-8E69-ED3C115F16E0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8" name="Background White">
            <a:extLst>
              <a:ext uri="{FF2B5EF4-FFF2-40B4-BE49-F238E27FC236}">
                <a16:creationId xmlns:a16="http://schemas.microsoft.com/office/drawing/2014/main" id="{9FD1694A-5725-40E5-AC10-2A7A68B981E5}"/>
              </a:ext>
            </a:extLst>
          </p:cNvPr>
          <p:cNvSpPr/>
          <p:nvPr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23" name="Crystal Picture Placeholder">
            <a:extLst>
              <a:ext uri="{FF2B5EF4-FFF2-40B4-BE49-F238E27FC236}">
                <a16:creationId xmlns:a16="http://schemas.microsoft.com/office/drawing/2014/main" id="{5805FCC4-D045-0733-8C95-81CAFF95804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" y="2"/>
            <a:ext cx="12191999" cy="3743997"/>
          </a:xfrm>
          <a:custGeom>
            <a:avLst/>
            <a:gdLst>
              <a:gd name="connsiteX0" fmla="*/ 0 w 12191999"/>
              <a:gd name="connsiteY0" fmla="*/ 0 h 3743997"/>
              <a:gd name="connsiteX1" fmla="*/ 12191999 w 12191999"/>
              <a:gd name="connsiteY1" fmla="*/ 0 h 3743997"/>
              <a:gd name="connsiteX2" fmla="*/ 12191999 w 12191999"/>
              <a:gd name="connsiteY2" fmla="*/ 3726156 h 3743997"/>
              <a:gd name="connsiteX3" fmla="*/ 3063660 w 12191999"/>
              <a:gd name="connsiteY3" fmla="*/ 2179105 h 3743997"/>
              <a:gd name="connsiteX4" fmla="*/ 387 w 12191999"/>
              <a:gd name="connsiteY4" fmla="*/ 3726157 h 3743997"/>
              <a:gd name="connsiteX5" fmla="*/ 387 w 12191999"/>
              <a:gd name="connsiteY5" fmla="*/ 3743997 h 3743997"/>
              <a:gd name="connsiteX6" fmla="*/ 0 w 12191999"/>
              <a:gd name="connsiteY6" fmla="*/ 3743997 h 3743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1999" h="3743997">
                <a:moveTo>
                  <a:pt x="0" y="0"/>
                </a:moveTo>
                <a:lnTo>
                  <a:pt x="12191999" y="0"/>
                </a:lnTo>
                <a:lnTo>
                  <a:pt x="12191999" y="3726156"/>
                </a:lnTo>
                <a:lnTo>
                  <a:pt x="3063660" y="2179105"/>
                </a:lnTo>
                <a:lnTo>
                  <a:pt x="387" y="3726157"/>
                </a:lnTo>
                <a:lnTo>
                  <a:pt x="387" y="3743997"/>
                </a:lnTo>
                <a:lnTo>
                  <a:pt x="0" y="3743997"/>
                </a:lnTo>
                <a:close/>
              </a:path>
            </a:pathLst>
          </a:custGeom>
          <a:blipFill>
            <a:blip r:embed="rId12"/>
            <a:stretch>
              <a:fillRect/>
            </a:stretch>
          </a:blipFill>
        </p:spPr>
        <p:txBody>
          <a:bodyPr wrap="square" tIns="1296000">
            <a:noAutofit/>
          </a:bodyPr>
          <a:lstStyle>
            <a:lvl1pPr marL="0" indent="0" algn="ctr">
              <a:buNone/>
              <a:defRPr/>
            </a:lvl1pPr>
          </a:lstStyle>
          <a:p>
            <a:endParaRPr lang="de-DE"/>
          </a:p>
        </p:txBody>
      </p:sp>
      <p:sp>
        <p:nvSpPr>
          <p:cNvPr id="30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624000" y="5641951"/>
            <a:ext cx="828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18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Author (department)</a:t>
            </a:r>
            <a:br>
              <a:rPr lang="en-US" noProof="0" dirty="0"/>
            </a:br>
            <a:r>
              <a:rPr lang="en-US" noProof="0" dirty="0"/>
              <a:t>Date</a:t>
            </a: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26638A09-FAF0-40AC-917E-C2B12C875E5A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624000" y="4163051"/>
            <a:ext cx="8280000" cy="1118901"/>
          </a:xfrm>
        </p:spPr>
        <p:txBody>
          <a:bodyPr bIns="0" anchor="b">
            <a:normAutofit/>
          </a:bodyPr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Please type in title</a:t>
            </a:r>
          </a:p>
        </p:txBody>
      </p:sp>
      <p:sp>
        <p:nvSpPr>
          <p:cNvPr id="9" name="empower_classification_attention_placeholder" hidden="1">
            <a:extLst>
              <a:ext uri="{FF2B5EF4-FFF2-40B4-BE49-F238E27FC236}">
                <a16:creationId xmlns:a16="http://schemas.microsoft.com/office/drawing/2014/main" id="{542ADA73-329E-4D35-A040-712B75800F88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411800" y="6500314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classification_placeholder">
            <a:extLst>
              <a:ext uri="{FF2B5EF4-FFF2-40B4-BE49-F238E27FC236}">
                <a16:creationId xmlns:a16="http://schemas.microsoft.com/office/drawing/2014/main" id="{2D16A7B9-CA23-4C66-B2AF-3682EAAE8159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5412000" y="6500314"/>
            <a:ext cx="13680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1" name="empower_document_placeholder" hidden="1">
            <a:extLst>
              <a:ext uri="{FF2B5EF4-FFF2-40B4-BE49-F238E27FC236}">
                <a16:creationId xmlns:a16="http://schemas.microsoft.com/office/drawing/2014/main" id="{7FE25D73-2664-463A-AF80-DF3E4E2CB8B6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624000" y="6500314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empower_draft_placeholder" hidden="1">
            <a:extLst>
              <a:ext uri="{FF2B5EF4-FFF2-40B4-BE49-F238E27FC236}">
                <a16:creationId xmlns:a16="http://schemas.microsoft.com/office/drawing/2014/main" id="{9769B1E2-E46B-4957-AEBB-2CD1EAF09328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4350044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7" name="Logo">
            <a:extLst>
              <a:ext uri="{FF2B5EF4-FFF2-40B4-BE49-F238E27FC236}">
                <a16:creationId xmlns:a16="http://schemas.microsoft.com/office/drawing/2014/main" id="{442953E7-0661-4596-B845-3CAECE60C379}"/>
              </a:ext>
            </a:extLst>
          </p:cNvPr>
          <p:cNvGrpSpPr/>
          <p:nvPr/>
        </p:nvGrpSpPr>
        <p:grpSpPr>
          <a:xfrm>
            <a:off x="9738355" y="5453288"/>
            <a:ext cx="1830253" cy="800431"/>
            <a:chOff x="9738355" y="5453288"/>
            <a:chExt cx="1830253" cy="800431"/>
          </a:xfrm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1C766C59-49C3-4476-A96B-266E072BCA70}"/>
                </a:ext>
              </a:extLst>
            </p:cNvPr>
            <p:cNvSpPr/>
            <p:nvPr/>
          </p:nvSpPr>
          <p:spPr>
            <a:xfrm>
              <a:off x="9979381" y="5528812"/>
              <a:ext cx="1412001" cy="463475"/>
            </a:xfrm>
            <a:custGeom>
              <a:avLst/>
              <a:gdLst>
                <a:gd name="connsiteX0" fmla="*/ 1120063 w 1412001"/>
                <a:gd name="connsiteY0" fmla="*/ 463475 h 463475"/>
                <a:gd name="connsiteX1" fmla="*/ 1209643 w 1412001"/>
                <a:gd name="connsiteY1" fmla="*/ 324691 h 463475"/>
                <a:gd name="connsiteX2" fmla="*/ 1120063 w 1412001"/>
                <a:gd name="connsiteY2" fmla="*/ 189134 h 463475"/>
                <a:gd name="connsiteX3" fmla="*/ 1031773 w 1412001"/>
                <a:gd name="connsiteY3" fmla="*/ 325982 h 463475"/>
                <a:gd name="connsiteX4" fmla="*/ 1120063 w 1412001"/>
                <a:gd name="connsiteY4" fmla="*/ 463475 h 463475"/>
                <a:gd name="connsiteX5" fmla="*/ 1086552 w 1412001"/>
                <a:gd name="connsiteY5" fmla="*/ 324045 h 463475"/>
                <a:gd name="connsiteX6" fmla="*/ 1120063 w 1412001"/>
                <a:gd name="connsiteY6" fmla="*/ 235611 h 463475"/>
                <a:gd name="connsiteX7" fmla="*/ 1154864 w 1412001"/>
                <a:gd name="connsiteY7" fmla="*/ 325336 h 463475"/>
                <a:gd name="connsiteX8" fmla="*/ 1121352 w 1412001"/>
                <a:gd name="connsiteY8" fmla="*/ 418290 h 463475"/>
                <a:gd name="connsiteX9" fmla="*/ 1086552 w 1412001"/>
                <a:gd name="connsiteY9" fmla="*/ 324045 h 463475"/>
                <a:gd name="connsiteX10" fmla="*/ 921571 w 1412001"/>
                <a:gd name="connsiteY10" fmla="*/ 463475 h 463475"/>
                <a:gd name="connsiteX11" fmla="*/ 995683 w 1412001"/>
                <a:gd name="connsiteY11" fmla="*/ 428618 h 463475"/>
                <a:gd name="connsiteX12" fmla="*/ 975705 w 1412001"/>
                <a:gd name="connsiteY12" fmla="*/ 391178 h 463475"/>
                <a:gd name="connsiteX13" fmla="*/ 926082 w 1412001"/>
                <a:gd name="connsiteY13" fmla="*/ 416999 h 463475"/>
                <a:gd name="connsiteX14" fmla="*/ 889993 w 1412001"/>
                <a:gd name="connsiteY14" fmla="*/ 392469 h 463475"/>
                <a:gd name="connsiteX15" fmla="*/ 882259 w 1412001"/>
                <a:gd name="connsiteY15" fmla="*/ 346638 h 463475"/>
                <a:gd name="connsiteX16" fmla="*/ 882259 w 1412001"/>
                <a:gd name="connsiteY16" fmla="*/ 341474 h 463475"/>
                <a:gd name="connsiteX17" fmla="*/ 998261 w 1412001"/>
                <a:gd name="connsiteY17" fmla="*/ 341474 h 463475"/>
                <a:gd name="connsiteX18" fmla="*/ 998261 w 1412001"/>
                <a:gd name="connsiteY18" fmla="*/ 329855 h 463475"/>
                <a:gd name="connsiteX19" fmla="*/ 973127 w 1412001"/>
                <a:gd name="connsiteY19" fmla="*/ 216891 h 463475"/>
                <a:gd name="connsiteX20" fmla="*/ 915126 w 1412001"/>
                <a:gd name="connsiteY20" fmla="*/ 189134 h 463475"/>
                <a:gd name="connsiteX21" fmla="*/ 852614 w 1412001"/>
                <a:gd name="connsiteY21" fmla="*/ 223346 h 463475"/>
                <a:gd name="connsiteX22" fmla="*/ 828770 w 1412001"/>
                <a:gd name="connsiteY22" fmla="*/ 325982 h 463475"/>
                <a:gd name="connsiteX23" fmla="*/ 921571 w 1412001"/>
                <a:gd name="connsiteY23" fmla="*/ 463475 h 463475"/>
                <a:gd name="connsiteX24" fmla="*/ 915771 w 1412001"/>
                <a:gd name="connsiteY24" fmla="*/ 231738 h 463475"/>
                <a:gd name="connsiteX25" fmla="*/ 941549 w 1412001"/>
                <a:gd name="connsiteY25" fmla="*/ 250457 h 463475"/>
                <a:gd name="connsiteX26" fmla="*/ 947349 w 1412001"/>
                <a:gd name="connsiteY26" fmla="*/ 298871 h 463475"/>
                <a:gd name="connsiteX27" fmla="*/ 882259 w 1412001"/>
                <a:gd name="connsiteY27" fmla="*/ 298871 h 463475"/>
                <a:gd name="connsiteX28" fmla="*/ 915771 w 1412001"/>
                <a:gd name="connsiteY28" fmla="*/ 231738 h 463475"/>
                <a:gd name="connsiteX29" fmla="*/ 1252177 w 1412001"/>
                <a:gd name="connsiteY29" fmla="*/ 457020 h 463475"/>
                <a:gd name="connsiteX30" fmla="*/ 1302444 w 1412001"/>
                <a:gd name="connsiteY30" fmla="*/ 457020 h 463475"/>
                <a:gd name="connsiteX31" fmla="*/ 1302444 w 1412001"/>
                <a:gd name="connsiteY31" fmla="*/ 263368 h 463475"/>
                <a:gd name="connsiteX32" fmla="*/ 1339178 w 1412001"/>
                <a:gd name="connsiteY32" fmla="*/ 240129 h 463475"/>
                <a:gd name="connsiteX33" fmla="*/ 1355934 w 1412001"/>
                <a:gd name="connsiteY33" fmla="*/ 246584 h 463475"/>
                <a:gd name="connsiteX34" fmla="*/ 1361734 w 1412001"/>
                <a:gd name="connsiteY34" fmla="*/ 280796 h 463475"/>
                <a:gd name="connsiteX35" fmla="*/ 1361734 w 1412001"/>
                <a:gd name="connsiteY35" fmla="*/ 457020 h 463475"/>
                <a:gd name="connsiteX36" fmla="*/ 1412002 w 1412001"/>
                <a:gd name="connsiteY36" fmla="*/ 457020 h 463475"/>
                <a:gd name="connsiteX37" fmla="*/ 1412002 w 1412001"/>
                <a:gd name="connsiteY37" fmla="*/ 257558 h 463475"/>
                <a:gd name="connsiteX38" fmla="*/ 1399757 w 1412001"/>
                <a:gd name="connsiteY38" fmla="*/ 209790 h 463475"/>
                <a:gd name="connsiteX39" fmla="*/ 1358512 w 1412001"/>
                <a:gd name="connsiteY39" fmla="*/ 191071 h 463475"/>
                <a:gd name="connsiteX40" fmla="*/ 1298577 w 1412001"/>
                <a:gd name="connsiteY40" fmla="*/ 220119 h 463475"/>
                <a:gd name="connsiteX41" fmla="*/ 1292133 w 1412001"/>
                <a:gd name="connsiteY41" fmla="*/ 189134 h 463475"/>
                <a:gd name="connsiteX42" fmla="*/ 1245088 w 1412001"/>
                <a:gd name="connsiteY42" fmla="*/ 201399 h 463475"/>
                <a:gd name="connsiteX43" fmla="*/ 1251532 w 1412001"/>
                <a:gd name="connsiteY43" fmla="*/ 264659 h 463475"/>
                <a:gd name="connsiteX44" fmla="*/ 1251532 w 1412001"/>
                <a:gd name="connsiteY44" fmla="*/ 457020 h 463475"/>
                <a:gd name="connsiteX45" fmla="*/ 668300 w 1412001"/>
                <a:gd name="connsiteY45" fmla="*/ 220119 h 463475"/>
                <a:gd name="connsiteX46" fmla="*/ 661856 w 1412001"/>
                <a:gd name="connsiteY46" fmla="*/ 189134 h 463475"/>
                <a:gd name="connsiteX47" fmla="*/ 614810 w 1412001"/>
                <a:gd name="connsiteY47" fmla="*/ 201399 h 463475"/>
                <a:gd name="connsiteX48" fmla="*/ 621255 w 1412001"/>
                <a:gd name="connsiteY48" fmla="*/ 264659 h 463475"/>
                <a:gd name="connsiteX49" fmla="*/ 621255 w 1412001"/>
                <a:gd name="connsiteY49" fmla="*/ 456375 h 463475"/>
                <a:gd name="connsiteX50" fmla="*/ 671522 w 1412001"/>
                <a:gd name="connsiteY50" fmla="*/ 456375 h 463475"/>
                <a:gd name="connsiteX51" fmla="*/ 671522 w 1412001"/>
                <a:gd name="connsiteY51" fmla="*/ 262722 h 463475"/>
                <a:gd name="connsiteX52" fmla="*/ 708256 w 1412001"/>
                <a:gd name="connsiteY52" fmla="*/ 239484 h 463475"/>
                <a:gd name="connsiteX53" fmla="*/ 725012 w 1412001"/>
                <a:gd name="connsiteY53" fmla="*/ 245939 h 463475"/>
                <a:gd name="connsiteX54" fmla="*/ 730812 w 1412001"/>
                <a:gd name="connsiteY54" fmla="*/ 280151 h 463475"/>
                <a:gd name="connsiteX55" fmla="*/ 730812 w 1412001"/>
                <a:gd name="connsiteY55" fmla="*/ 456375 h 463475"/>
                <a:gd name="connsiteX56" fmla="*/ 781080 w 1412001"/>
                <a:gd name="connsiteY56" fmla="*/ 456375 h 463475"/>
                <a:gd name="connsiteX57" fmla="*/ 781080 w 1412001"/>
                <a:gd name="connsiteY57" fmla="*/ 257558 h 463475"/>
                <a:gd name="connsiteX58" fmla="*/ 768835 w 1412001"/>
                <a:gd name="connsiteY58" fmla="*/ 209790 h 463475"/>
                <a:gd name="connsiteX59" fmla="*/ 727590 w 1412001"/>
                <a:gd name="connsiteY59" fmla="*/ 191071 h 463475"/>
                <a:gd name="connsiteX60" fmla="*/ 668300 w 1412001"/>
                <a:gd name="connsiteY60" fmla="*/ 220119 h 463475"/>
                <a:gd name="connsiteX61" fmla="*/ 53490 w 1412001"/>
                <a:gd name="connsiteY61" fmla="*/ 107154 h 463475"/>
                <a:gd name="connsiteX62" fmla="*/ 106980 w 1412001"/>
                <a:gd name="connsiteY62" fmla="*/ 53577 h 463475"/>
                <a:gd name="connsiteX63" fmla="*/ 53490 w 1412001"/>
                <a:gd name="connsiteY63" fmla="*/ 0 h 463475"/>
                <a:gd name="connsiteX64" fmla="*/ 0 w 1412001"/>
                <a:gd name="connsiteY64" fmla="*/ 53577 h 463475"/>
                <a:gd name="connsiteX65" fmla="*/ 53490 w 1412001"/>
                <a:gd name="connsiteY65" fmla="*/ 107154 h 463475"/>
                <a:gd name="connsiteX66" fmla="*/ 300316 w 1412001"/>
                <a:gd name="connsiteY66" fmla="*/ 457020 h 463475"/>
                <a:gd name="connsiteX67" fmla="*/ 300316 w 1412001"/>
                <a:gd name="connsiteY67" fmla="*/ 257558 h 463475"/>
                <a:gd name="connsiteX68" fmla="*/ 288072 w 1412001"/>
                <a:gd name="connsiteY68" fmla="*/ 209790 h 463475"/>
                <a:gd name="connsiteX69" fmla="*/ 246826 w 1412001"/>
                <a:gd name="connsiteY69" fmla="*/ 191071 h 463475"/>
                <a:gd name="connsiteX70" fmla="*/ 186892 w 1412001"/>
                <a:gd name="connsiteY70" fmla="*/ 220119 h 463475"/>
                <a:gd name="connsiteX71" fmla="*/ 180447 w 1412001"/>
                <a:gd name="connsiteY71" fmla="*/ 189134 h 463475"/>
                <a:gd name="connsiteX72" fmla="*/ 134047 w 1412001"/>
                <a:gd name="connsiteY72" fmla="*/ 202044 h 463475"/>
                <a:gd name="connsiteX73" fmla="*/ 140491 w 1412001"/>
                <a:gd name="connsiteY73" fmla="*/ 265304 h 463475"/>
                <a:gd name="connsiteX74" fmla="*/ 140491 w 1412001"/>
                <a:gd name="connsiteY74" fmla="*/ 457020 h 463475"/>
                <a:gd name="connsiteX75" fmla="*/ 190759 w 1412001"/>
                <a:gd name="connsiteY75" fmla="*/ 457020 h 463475"/>
                <a:gd name="connsiteX76" fmla="*/ 190759 w 1412001"/>
                <a:gd name="connsiteY76" fmla="*/ 263368 h 463475"/>
                <a:gd name="connsiteX77" fmla="*/ 227493 w 1412001"/>
                <a:gd name="connsiteY77" fmla="*/ 240129 h 463475"/>
                <a:gd name="connsiteX78" fmla="*/ 244249 w 1412001"/>
                <a:gd name="connsiteY78" fmla="*/ 246584 h 463475"/>
                <a:gd name="connsiteX79" fmla="*/ 250049 w 1412001"/>
                <a:gd name="connsiteY79" fmla="*/ 280796 h 463475"/>
                <a:gd name="connsiteX80" fmla="*/ 250049 w 1412001"/>
                <a:gd name="connsiteY80" fmla="*/ 457020 h 463475"/>
                <a:gd name="connsiteX81" fmla="*/ 300316 w 1412001"/>
                <a:gd name="connsiteY81" fmla="*/ 457020 h 463475"/>
                <a:gd name="connsiteX82" fmla="*/ 531676 w 1412001"/>
                <a:gd name="connsiteY82" fmla="*/ 92953 h 463475"/>
                <a:gd name="connsiteX83" fmla="*/ 498164 w 1412001"/>
                <a:gd name="connsiteY83" fmla="*/ 126520 h 463475"/>
                <a:gd name="connsiteX84" fmla="*/ 531031 w 1412001"/>
                <a:gd name="connsiteY84" fmla="*/ 160086 h 463475"/>
                <a:gd name="connsiteX85" fmla="*/ 564543 w 1412001"/>
                <a:gd name="connsiteY85" fmla="*/ 126520 h 463475"/>
                <a:gd name="connsiteX86" fmla="*/ 531676 w 1412001"/>
                <a:gd name="connsiteY86" fmla="*/ 92953 h 463475"/>
                <a:gd name="connsiteX87" fmla="*/ 29645 w 1412001"/>
                <a:gd name="connsiteY87" fmla="*/ 457020 h 463475"/>
                <a:gd name="connsiteX88" fmla="*/ 79912 w 1412001"/>
                <a:gd name="connsiteY88" fmla="*/ 457020 h 463475"/>
                <a:gd name="connsiteX89" fmla="*/ 79912 w 1412001"/>
                <a:gd name="connsiteY89" fmla="*/ 142657 h 463475"/>
                <a:gd name="connsiteX90" fmla="*/ 29645 w 1412001"/>
                <a:gd name="connsiteY90" fmla="*/ 149113 h 463475"/>
                <a:gd name="connsiteX91" fmla="*/ 29645 w 1412001"/>
                <a:gd name="connsiteY91" fmla="*/ 457020 h 463475"/>
                <a:gd name="connsiteX92" fmla="*/ 440163 w 1412001"/>
                <a:gd name="connsiteY92" fmla="*/ 123938 h 463475"/>
                <a:gd name="connsiteX93" fmla="*/ 464008 w 1412001"/>
                <a:gd name="connsiteY93" fmla="*/ 131684 h 463475"/>
                <a:gd name="connsiteX94" fmla="*/ 478186 w 1412001"/>
                <a:gd name="connsiteY94" fmla="*/ 92308 h 463475"/>
                <a:gd name="connsiteX95" fmla="*/ 431141 w 1412001"/>
                <a:gd name="connsiteY95" fmla="*/ 78107 h 463475"/>
                <a:gd name="connsiteX96" fmla="*/ 392473 w 1412001"/>
                <a:gd name="connsiteY96" fmla="*/ 91017 h 463475"/>
                <a:gd name="connsiteX97" fmla="*/ 367340 w 1412001"/>
                <a:gd name="connsiteY97" fmla="*/ 160732 h 463475"/>
                <a:gd name="connsiteX98" fmla="*/ 367984 w 1412001"/>
                <a:gd name="connsiteY98" fmla="*/ 194944 h 463475"/>
                <a:gd name="connsiteX99" fmla="*/ 350584 w 1412001"/>
                <a:gd name="connsiteY99" fmla="*/ 194944 h 463475"/>
                <a:gd name="connsiteX100" fmla="*/ 350584 w 1412001"/>
                <a:gd name="connsiteY100" fmla="*/ 239484 h 463475"/>
                <a:gd name="connsiteX101" fmla="*/ 367984 w 1412001"/>
                <a:gd name="connsiteY101" fmla="*/ 239484 h 463475"/>
                <a:gd name="connsiteX102" fmla="*/ 367984 w 1412001"/>
                <a:gd name="connsiteY102" fmla="*/ 456375 h 463475"/>
                <a:gd name="connsiteX103" fmla="*/ 419540 w 1412001"/>
                <a:gd name="connsiteY103" fmla="*/ 456375 h 463475"/>
                <a:gd name="connsiteX104" fmla="*/ 419540 w 1412001"/>
                <a:gd name="connsiteY104" fmla="*/ 240129 h 463475"/>
                <a:gd name="connsiteX105" fmla="*/ 457563 w 1412001"/>
                <a:gd name="connsiteY105" fmla="*/ 240129 h 463475"/>
                <a:gd name="connsiteX106" fmla="*/ 467230 w 1412001"/>
                <a:gd name="connsiteY106" fmla="*/ 195589 h 463475"/>
                <a:gd name="connsiteX107" fmla="*/ 420185 w 1412001"/>
                <a:gd name="connsiteY107" fmla="*/ 195589 h 463475"/>
                <a:gd name="connsiteX108" fmla="*/ 420185 w 1412001"/>
                <a:gd name="connsiteY108" fmla="*/ 155568 h 463475"/>
                <a:gd name="connsiteX109" fmla="*/ 440163 w 1412001"/>
                <a:gd name="connsiteY109" fmla="*/ 123938 h 463475"/>
                <a:gd name="connsiteX110" fmla="*/ 505897 w 1412001"/>
                <a:gd name="connsiteY110" fmla="*/ 457020 h 463475"/>
                <a:gd name="connsiteX111" fmla="*/ 556809 w 1412001"/>
                <a:gd name="connsiteY111" fmla="*/ 457020 h 463475"/>
                <a:gd name="connsiteX112" fmla="*/ 556809 w 1412001"/>
                <a:gd name="connsiteY112" fmla="*/ 191071 h 463475"/>
                <a:gd name="connsiteX113" fmla="*/ 505897 w 1412001"/>
                <a:gd name="connsiteY113" fmla="*/ 197526 h 463475"/>
                <a:gd name="connsiteX114" fmla="*/ 505897 w 1412001"/>
                <a:gd name="connsiteY114" fmla="*/ 457020 h 463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</a:cxnLst>
              <a:rect l="l" t="t" r="r" b="b"/>
              <a:pathLst>
                <a:path w="1412001" h="463475">
                  <a:moveTo>
                    <a:pt x="1120063" y="463475"/>
                  </a:moveTo>
                  <a:cubicBezTo>
                    <a:pt x="1188376" y="463475"/>
                    <a:pt x="1209643" y="391178"/>
                    <a:pt x="1209643" y="324691"/>
                  </a:cubicBezTo>
                  <a:cubicBezTo>
                    <a:pt x="1209643" y="235611"/>
                    <a:pt x="1172264" y="189134"/>
                    <a:pt x="1120063" y="189134"/>
                  </a:cubicBezTo>
                  <a:cubicBezTo>
                    <a:pt x="1054329" y="189134"/>
                    <a:pt x="1031128" y="261431"/>
                    <a:pt x="1031773" y="325982"/>
                  </a:cubicBezTo>
                  <a:cubicBezTo>
                    <a:pt x="1032417" y="389887"/>
                    <a:pt x="1050462" y="463475"/>
                    <a:pt x="1120063" y="463475"/>
                  </a:cubicBezTo>
                  <a:close/>
                  <a:moveTo>
                    <a:pt x="1086552" y="324045"/>
                  </a:moveTo>
                  <a:cubicBezTo>
                    <a:pt x="1086552" y="297580"/>
                    <a:pt x="1086552" y="235611"/>
                    <a:pt x="1120063" y="235611"/>
                  </a:cubicBezTo>
                  <a:cubicBezTo>
                    <a:pt x="1156153" y="235611"/>
                    <a:pt x="1154864" y="296934"/>
                    <a:pt x="1154864" y="325336"/>
                  </a:cubicBezTo>
                  <a:cubicBezTo>
                    <a:pt x="1154864" y="352448"/>
                    <a:pt x="1154864" y="418290"/>
                    <a:pt x="1121352" y="418290"/>
                  </a:cubicBezTo>
                  <a:cubicBezTo>
                    <a:pt x="1085263" y="417644"/>
                    <a:pt x="1086552" y="351802"/>
                    <a:pt x="1086552" y="324045"/>
                  </a:cubicBezTo>
                  <a:close/>
                  <a:moveTo>
                    <a:pt x="921571" y="463475"/>
                  </a:moveTo>
                  <a:cubicBezTo>
                    <a:pt x="949283" y="463475"/>
                    <a:pt x="973127" y="452502"/>
                    <a:pt x="995683" y="428618"/>
                  </a:cubicBezTo>
                  <a:lnTo>
                    <a:pt x="975705" y="391178"/>
                  </a:lnTo>
                  <a:cubicBezTo>
                    <a:pt x="960238" y="407962"/>
                    <a:pt x="944771" y="416999"/>
                    <a:pt x="926082" y="416999"/>
                  </a:cubicBezTo>
                  <a:cubicBezTo>
                    <a:pt x="910615" y="416999"/>
                    <a:pt x="897726" y="407962"/>
                    <a:pt x="889993" y="392469"/>
                  </a:cubicBezTo>
                  <a:cubicBezTo>
                    <a:pt x="883548" y="378914"/>
                    <a:pt x="882259" y="363422"/>
                    <a:pt x="882259" y="346638"/>
                  </a:cubicBezTo>
                  <a:lnTo>
                    <a:pt x="882259" y="341474"/>
                  </a:lnTo>
                  <a:lnTo>
                    <a:pt x="998261" y="341474"/>
                  </a:lnTo>
                  <a:lnTo>
                    <a:pt x="998261" y="329855"/>
                  </a:lnTo>
                  <a:cubicBezTo>
                    <a:pt x="998261" y="272405"/>
                    <a:pt x="991172" y="240775"/>
                    <a:pt x="973127" y="216891"/>
                  </a:cubicBezTo>
                  <a:cubicBezTo>
                    <a:pt x="959594" y="198817"/>
                    <a:pt x="939616" y="189134"/>
                    <a:pt x="915126" y="189134"/>
                  </a:cubicBezTo>
                  <a:cubicBezTo>
                    <a:pt x="889348" y="189134"/>
                    <a:pt x="868081" y="200753"/>
                    <a:pt x="852614" y="223346"/>
                  </a:cubicBezTo>
                  <a:cubicBezTo>
                    <a:pt x="835859" y="247875"/>
                    <a:pt x="828770" y="280796"/>
                    <a:pt x="828770" y="325982"/>
                  </a:cubicBezTo>
                  <a:cubicBezTo>
                    <a:pt x="828125" y="412480"/>
                    <a:pt x="862281" y="463475"/>
                    <a:pt x="921571" y="463475"/>
                  </a:cubicBezTo>
                  <a:close/>
                  <a:moveTo>
                    <a:pt x="915771" y="231738"/>
                  </a:moveTo>
                  <a:cubicBezTo>
                    <a:pt x="928660" y="231738"/>
                    <a:pt x="936394" y="238838"/>
                    <a:pt x="941549" y="250457"/>
                  </a:cubicBezTo>
                  <a:cubicBezTo>
                    <a:pt x="945416" y="260786"/>
                    <a:pt x="947349" y="278214"/>
                    <a:pt x="947349" y="298871"/>
                  </a:cubicBezTo>
                  <a:lnTo>
                    <a:pt x="882259" y="298871"/>
                  </a:lnTo>
                  <a:cubicBezTo>
                    <a:pt x="882904" y="253039"/>
                    <a:pt x="892571" y="231738"/>
                    <a:pt x="915771" y="231738"/>
                  </a:cubicBezTo>
                  <a:close/>
                  <a:moveTo>
                    <a:pt x="1252177" y="457020"/>
                  </a:moveTo>
                  <a:lnTo>
                    <a:pt x="1302444" y="457020"/>
                  </a:lnTo>
                  <a:lnTo>
                    <a:pt x="1302444" y="263368"/>
                  </a:lnTo>
                  <a:cubicBezTo>
                    <a:pt x="1314689" y="248521"/>
                    <a:pt x="1328867" y="240129"/>
                    <a:pt x="1339178" y="240129"/>
                  </a:cubicBezTo>
                  <a:cubicBezTo>
                    <a:pt x="1345623" y="240129"/>
                    <a:pt x="1352067" y="241420"/>
                    <a:pt x="1355934" y="246584"/>
                  </a:cubicBezTo>
                  <a:cubicBezTo>
                    <a:pt x="1359801" y="252394"/>
                    <a:pt x="1361734" y="260786"/>
                    <a:pt x="1361734" y="280796"/>
                  </a:cubicBezTo>
                  <a:lnTo>
                    <a:pt x="1361734" y="457020"/>
                  </a:lnTo>
                  <a:lnTo>
                    <a:pt x="1412002" y="457020"/>
                  </a:lnTo>
                  <a:lnTo>
                    <a:pt x="1412002" y="257558"/>
                  </a:lnTo>
                  <a:cubicBezTo>
                    <a:pt x="1412002" y="240129"/>
                    <a:pt x="1410068" y="222701"/>
                    <a:pt x="1399757" y="209790"/>
                  </a:cubicBezTo>
                  <a:cubicBezTo>
                    <a:pt x="1390735" y="198171"/>
                    <a:pt x="1376557" y="191071"/>
                    <a:pt x="1358512" y="191071"/>
                  </a:cubicBezTo>
                  <a:cubicBezTo>
                    <a:pt x="1335311" y="191071"/>
                    <a:pt x="1311467" y="204626"/>
                    <a:pt x="1298577" y="220119"/>
                  </a:cubicBezTo>
                  <a:cubicBezTo>
                    <a:pt x="1297933" y="206563"/>
                    <a:pt x="1293422" y="193653"/>
                    <a:pt x="1292133" y="189134"/>
                  </a:cubicBezTo>
                  <a:lnTo>
                    <a:pt x="1245088" y="201399"/>
                  </a:lnTo>
                  <a:cubicBezTo>
                    <a:pt x="1247665" y="215600"/>
                    <a:pt x="1251532" y="233029"/>
                    <a:pt x="1251532" y="264659"/>
                  </a:cubicBezTo>
                  <a:lnTo>
                    <a:pt x="1251532" y="457020"/>
                  </a:lnTo>
                  <a:close/>
                  <a:moveTo>
                    <a:pt x="668300" y="220119"/>
                  </a:moveTo>
                  <a:cubicBezTo>
                    <a:pt x="667656" y="206563"/>
                    <a:pt x="663145" y="193653"/>
                    <a:pt x="661856" y="189134"/>
                  </a:cubicBezTo>
                  <a:lnTo>
                    <a:pt x="614810" y="201399"/>
                  </a:lnTo>
                  <a:cubicBezTo>
                    <a:pt x="617388" y="215600"/>
                    <a:pt x="621255" y="233029"/>
                    <a:pt x="621255" y="264659"/>
                  </a:cubicBezTo>
                  <a:lnTo>
                    <a:pt x="621255" y="456375"/>
                  </a:lnTo>
                  <a:lnTo>
                    <a:pt x="671522" y="456375"/>
                  </a:lnTo>
                  <a:lnTo>
                    <a:pt x="671522" y="262722"/>
                  </a:lnTo>
                  <a:cubicBezTo>
                    <a:pt x="683767" y="247875"/>
                    <a:pt x="697945" y="239484"/>
                    <a:pt x="708256" y="239484"/>
                  </a:cubicBezTo>
                  <a:cubicBezTo>
                    <a:pt x="714701" y="239484"/>
                    <a:pt x="721146" y="240775"/>
                    <a:pt x="725012" y="245939"/>
                  </a:cubicBezTo>
                  <a:cubicBezTo>
                    <a:pt x="728879" y="251748"/>
                    <a:pt x="730812" y="260140"/>
                    <a:pt x="730812" y="280151"/>
                  </a:cubicBezTo>
                  <a:lnTo>
                    <a:pt x="730812" y="456375"/>
                  </a:lnTo>
                  <a:lnTo>
                    <a:pt x="781080" y="456375"/>
                  </a:lnTo>
                  <a:lnTo>
                    <a:pt x="781080" y="257558"/>
                  </a:lnTo>
                  <a:cubicBezTo>
                    <a:pt x="781080" y="240129"/>
                    <a:pt x="779146" y="222701"/>
                    <a:pt x="768835" y="209790"/>
                  </a:cubicBezTo>
                  <a:cubicBezTo>
                    <a:pt x="759813" y="198171"/>
                    <a:pt x="745635" y="191071"/>
                    <a:pt x="727590" y="191071"/>
                  </a:cubicBezTo>
                  <a:cubicBezTo>
                    <a:pt x="705034" y="191071"/>
                    <a:pt x="681189" y="204626"/>
                    <a:pt x="668300" y="220119"/>
                  </a:cubicBezTo>
                  <a:close/>
                  <a:moveTo>
                    <a:pt x="53490" y="107154"/>
                  </a:moveTo>
                  <a:cubicBezTo>
                    <a:pt x="83135" y="107154"/>
                    <a:pt x="106980" y="83271"/>
                    <a:pt x="106980" y="53577"/>
                  </a:cubicBezTo>
                  <a:cubicBezTo>
                    <a:pt x="106980" y="23884"/>
                    <a:pt x="83135" y="0"/>
                    <a:pt x="53490" y="0"/>
                  </a:cubicBezTo>
                  <a:cubicBezTo>
                    <a:pt x="23845" y="0"/>
                    <a:pt x="0" y="23884"/>
                    <a:pt x="0" y="53577"/>
                  </a:cubicBezTo>
                  <a:cubicBezTo>
                    <a:pt x="0" y="83271"/>
                    <a:pt x="23845" y="107154"/>
                    <a:pt x="53490" y="107154"/>
                  </a:cubicBezTo>
                  <a:close/>
                  <a:moveTo>
                    <a:pt x="300316" y="457020"/>
                  </a:moveTo>
                  <a:lnTo>
                    <a:pt x="300316" y="257558"/>
                  </a:lnTo>
                  <a:cubicBezTo>
                    <a:pt x="300316" y="240129"/>
                    <a:pt x="298383" y="222701"/>
                    <a:pt x="288072" y="209790"/>
                  </a:cubicBezTo>
                  <a:cubicBezTo>
                    <a:pt x="279049" y="198171"/>
                    <a:pt x="264871" y="191071"/>
                    <a:pt x="246826" y="191071"/>
                  </a:cubicBezTo>
                  <a:cubicBezTo>
                    <a:pt x="223626" y="191071"/>
                    <a:pt x="199781" y="204626"/>
                    <a:pt x="186892" y="220119"/>
                  </a:cubicBezTo>
                  <a:cubicBezTo>
                    <a:pt x="186248" y="206563"/>
                    <a:pt x="181736" y="193653"/>
                    <a:pt x="180447" y="189134"/>
                  </a:cubicBezTo>
                  <a:lnTo>
                    <a:pt x="134047" y="202044"/>
                  </a:lnTo>
                  <a:cubicBezTo>
                    <a:pt x="136625" y="216245"/>
                    <a:pt x="140491" y="233674"/>
                    <a:pt x="140491" y="265304"/>
                  </a:cubicBezTo>
                  <a:lnTo>
                    <a:pt x="140491" y="457020"/>
                  </a:lnTo>
                  <a:lnTo>
                    <a:pt x="190759" y="457020"/>
                  </a:lnTo>
                  <a:lnTo>
                    <a:pt x="190759" y="263368"/>
                  </a:lnTo>
                  <a:cubicBezTo>
                    <a:pt x="203003" y="248521"/>
                    <a:pt x="217181" y="240129"/>
                    <a:pt x="227493" y="240129"/>
                  </a:cubicBezTo>
                  <a:cubicBezTo>
                    <a:pt x="233937" y="240129"/>
                    <a:pt x="240382" y="241420"/>
                    <a:pt x="244249" y="246584"/>
                  </a:cubicBezTo>
                  <a:cubicBezTo>
                    <a:pt x="248115" y="252394"/>
                    <a:pt x="250049" y="260786"/>
                    <a:pt x="250049" y="280796"/>
                  </a:cubicBezTo>
                  <a:lnTo>
                    <a:pt x="250049" y="457020"/>
                  </a:lnTo>
                  <a:lnTo>
                    <a:pt x="300316" y="457020"/>
                  </a:lnTo>
                  <a:close/>
                  <a:moveTo>
                    <a:pt x="531676" y="92953"/>
                  </a:moveTo>
                  <a:cubicBezTo>
                    <a:pt x="512986" y="92953"/>
                    <a:pt x="498164" y="107800"/>
                    <a:pt x="498164" y="126520"/>
                  </a:cubicBezTo>
                  <a:cubicBezTo>
                    <a:pt x="498164" y="145240"/>
                    <a:pt x="512986" y="160086"/>
                    <a:pt x="531031" y="160086"/>
                  </a:cubicBezTo>
                  <a:cubicBezTo>
                    <a:pt x="549720" y="160086"/>
                    <a:pt x="564543" y="145240"/>
                    <a:pt x="564543" y="126520"/>
                  </a:cubicBezTo>
                  <a:cubicBezTo>
                    <a:pt x="564543" y="107800"/>
                    <a:pt x="549720" y="92953"/>
                    <a:pt x="531676" y="92953"/>
                  </a:cubicBezTo>
                  <a:close/>
                  <a:moveTo>
                    <a:pt x="29645" y="457020"/>
                  </a:moveTo>
                  <a:lnTo>
                    <a:pt x="79912" y="457020"/>
                  </a:lnTo>
                  <a:lnTo>
                    <a:pt x="79912" y="142657"/>
                  </a:lnTo>
                  <a:lnTo>
                    <a:pt x="29645" y="149113"/>
                  </a:lnTo>
                  <a:lnTo>
                    <a:pt x="29645" y="457020"/>
                  </a:lnTo>
                  <a:close/>
                  <a:moveTo>
                    <a:pt x="440163" y="123938"/>
                  </a:moveTo>
                  <a:cubicBezTo>
                    <a:pt x="449185" y="123938"/>
                    <a:pt x="458208" y="127165"/>
                    <a:pt x="464008" y="131684"/>
                  </a:cubicBezTo>
                  <a:lnTo>
                    <a:pt x="478186" y="92308"/>
                  </a:lnTo>
                  <a:cubicBezTo>
                    <a:pt x="464652" y="82625"/>
                    <a:pt x="449830" y="78107"/>
                    <a:pt x="431141" y="78107"/>
                  </a:cubicBezTo>
                  <a:cubicBezTo>
                    <a:pt x="418252" y="78107"/>
                    <a:pt x="404718" y="81334"/>
                    <a:pt x="392473" y="91017"/>
                  </a:cubicBezTo>
                  <a:cubicBezTo>
                    <a:pt x="380229" y="101345"/>
                    <a:pt x="367340" y="122001"/>
                    <a:pt x="367340" y="160732"/>
                  </a:cubicBezTo>
                  <a:cubicBezTo>
                    <a:pt x="367340" y="177515"/>
                    <a:pt x="367984" y="194944"/>
                    <a:pt x="367984" y="194944"/>
                  </a:cubicBezTo>
                  <a:lnTo>
                    <a:pt x="350584" y="194944"/>
                  </a:lnTo>
                  <a:lnTo>
                    <a:pt x="350584" y="239484"/>
                  </a:lnTo>
                  <a:lnTo>
                    <a:pt x="367984" y="239484"/>
                  </a:lnTo>
                  <a:lnTo>
                    <a:pt x="367984" y="456375"/>
                  </a:lnTo>
                  <a:lnTo>
                    <a:pt x="419540" y="456375"/>
                  </a:lnTo>
                  <a:lnTo>
                    <a:pt x="419540" y="240129"/>
                  </a:lnTo>
                  <a:lnTo>
                    <a:pt x="457563" y="240129"/>
                  </a:lnTo>
                  <a:lnTo>
                    <a:pt x="467230" y="195589"/>
                  </a:lnTo>
                  <a:lnTo>
                    <a:pt x="420185" y="195589"/>
                  </a:lnTo>
                  <a:lnTo>
                    <a:pt x="420185" y="155568"/>
                  </a:lnTo>
                  <a:cubicBezTo>
                    <a:pt x="420185" y="136202"/>
                    <a:pt x="427918" y="123938"/>
                    <a:pt x="440163" y="123938"/>
                  </a:cubicBezTo>
                  <a:close/>
                  <a:moveTo>
                    <a:pt x="505897" y="457020"/>
                  </a:moveTo>
                  <a:lnTo>
                    <a:pt x="556809" y="457020"/>
                  </a:lnTo>
                  <a:lnTo>
                    <a:pt x="556809" y="191071"/>
                  </a:lnTo>
                  <a:lnTo>
                    <a:pt x="505897" y="197526"/>
                  </a:lnTo>
                  <a:lnTo>
                    <a:pt x="505897" y="457020"/>
                  </a:lnTo>
                  <a:close/>
                </a:path>
              </a:pathLst>
            </a:custGeom>
            <a:solidFill>
              <a:srgbClr val="005DA9"/>
            </a:solidFill>
            <a:ln w="64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baseline="0" noProof="0" dirty="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6A172B81-6FC0-4237-BB10-33D4A26CF8E7}"/>
                </a:ext>
              </a:extLst>
            </p:cNvPr>
            <p:cNvSpPr/>
            <p:nvPr/>
          </p:nvSpPr>
          <p:spPr>
            <a:xfrm>
              <a:off x="9738355" y="5453433"/>
              <a:ext cx="1826386" cy="800518"/>
            </a:xfrm>
            <a:custGeom>
              <a:avLst/>
              <a:gdLst>
                <a:gd name="connsiteX0" fmla="*/ 1549915 w 1826386"/>
                <a:gd name="connsiteY0" fmla="*/ 674411 h 800518"/>
                <a:gd name="connsiteX1" fmla="*/ 970550 w 1826386"/>
                <a:gd name="connsiteY1" fmla="*/ 746708 h 800518"/>
                <a:gd name="connsiteX2" fmla="*/ 102468 w 1826386"/>
                <a:gd name="connsiteY2" fmla="*/ 396197 h 800518"/>
                <a:gd name="connsiteX3" fmla="*/ 250693 w 1826386"/>
                <a:gd name="connsiteY3" fmla="*/ 186406 h 800518"/>
                <a:gd name="connsiteX4" fmla="*/ 221693 w 1826386"/>
                <a:gd name="connsiteY4" fmla="*/ 129602 h 800518"/>
                <a:gd name="connsiteX5" fmla="*/ 0 w 1826386"/>
                <a:gd name="connsiteY5" fmla="*/ 402006 h 800518"/>
                <a:gd name="connsiteX6" fmla="*/ 975705 w 1826386"/>
                <a:gd name="connsiteY6" fmla="*/ 800285 h 800518"/>
                <a:gd name="connsiteX7" fmla="*/ 1501581 w 1826386"/>
                <a:gd name="connsiteY7" fmla="*/ 718306 h 800518"/>
                <a:gd name="connsiteX8" fmla="*/ 1826386 w 1826386"/>
                <a:gd name="connsiteY8" fmla="*/ 536272 h 800518"/>
                <a:gd name="connsiteX9" fmla="*/ 1549915 w 1826386"/>
                <a:gd name="connsiteY9" fmla="*/ 674411 h 800518"/>
                <a:gd name="connsiteX10" fmla="*/ 467875 w 1826386"/>
                <a:gd name="connsiteY10" fmla="*/ 88289 h 800518"/>
                <a:gd name="connsiteX11" fmla="*/ 550365 w 1826386"/>
                <a:gd name="connsiteY11" fmla="*/ 61823 h 800518"/>
                <a:gd name="connsiteX12" fmla="*/ 976350 w 1826386"/>
                <a:gd name="connsiteY12" fmla="*/ 3727 h 800518"/>
                <a:gd name="connsiteX13" fmla="*/ 540054 w 1826386"/>
                <a:gd name="connsiteY13" fmla="*/ 26966 h 800518"/>
                <a:gd name="connsiteX14" fmla="*/ 451763 w 1826386"/>
                <a:gd name="connsiteY14" fmla="*/ 45685 h 800518"/>
                <a:gd name="connsiteX15" fmla="*/ 416318 w 1826386"/>
                <a:gd name="connsiteY15" fmla="*/ 55368 h 800518"/>
                <a:gd name="connsiteX16" fmla="*/ 384095 w 1826386"/>
                <a:gd name="connsiteY16" fmla="*/ 64405 h 800518"/>
                <a:gd name="connsiteX17" fmla="*/ 345428 w 1826386"/>
                <a:gd name="connsiteY17" fmla="*/ 77315 h 800518"/>
                <a:gd name="connsiteX18" fmla="*/ 366695 w 1826386"/>
                <a:gd name="connsiteY18" fmla="*/ 126374 h 800518"/>
                <a:gd name="connsiteX19" fmla="*/ 467875 w 1826386"/>
                <a:gd name="connsiteY19" fmla="*/ 88289 h 800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26386" h="800518">
                  <a:moveTo>
                    <a:pt x="1549915" y="674411"/>
                  </a:moveTo>
                  <a:cubicBezTo>
                    <a:pt x="1379779" y="724761"/>
                    <a:pt x="1172909" y="746708"/>
                    <a:pt x="970550" y="746708"/>
                  </a:cubicBezTo>
                  <a:cubicBezTo>
                    <a:pt x="456919" y="746708"/>
                    <a:pt x="125669" y="595659"/>
                    <a:pt x="102468" y="396197"/>
                  </a:cubicBezTo>
                  <a:cubicBezTo>
                    <a:pt x="94090" y="321318"/>
                    <a:pt x="152736" y="248375"/>
                    <a:pt x="250693" y="186406"/>
                  </a:cubicBezTo>
                  <a:cubicBezTo>
                    <a:pt x="233293" y="173496"/>
                    <a:pt x="222337" y="152840"/>
                    <a:pt x="221693" y="129602"/>
                  </a:cubicBezTo>
                  <a:cubicBezTo>
                    <a:pt x="79912" y="204481"/>
                    <a:pt x="0" y="302598"/>
                    <a:pt x="0" y="402006"/>
                  </a:cubicBezTo>
                  <a:cubicBezTo>
                    <a:pt x="0" y="622125"/>
                    <a:pt x="392473" y="808031"/>
                    <a:pt x="975705" y="800285"/>
                  </a:cubicBezTo>
                  <a:cubicBezTo>
                    <a:pt x="1178709" y="797703"/>
                    <a:pt x="1348200" y="768655"/>
                    <a:pt x="1501581" y="718306"/>
                  </a:cubicBezTo>
                  <a:cubicBezTo>
                    <a:pt x="1683962" y="658919"/>
                    <a:pt x="1798675" y="573712"/>
                    <a:pt x="1826386" y="536272"/>
                  </a:cubicBezTo>
                  <a:cubicBezTo>
                    <a:pt x="1793519" y="565966"/>
                    <a:pt x="1715540" y="625352"/>
                    <a:pt x="1549915" y="674411"/>
                  </a:cubicBezTo>
                  <a:close/>
                  <a:moveTo>
                    <a:pt x="467875" y="88289"/>
                  </a:moveTo>
                  <a:cubicBezTo>
                    <a:pt x="502031" y="76670"/>
                    <a:pt x="550365" y="61823"/>
                    <a:pt x="550365" y="61823"/>
                  </a:cubicBezTo>
                  <a:cubicBezTo>
                    <a:pt x="686345" y="24384"/>
                    <a:pt x="836503" y="2436"/>
                    <a:pt x="976350" y="3727"/>
                  </a:cubicBezTo>
                  <a:cubicBezTo>
                    <a:pt x="815236" y="-5955"/>
                    <a:pt x="668300" y="3727"/>
                    <a:pt x="540054" y="26966"/>
                  </a:cubicBezTo>
                  <a:cubicBezTo>
                    <a:pt x="540054" y="26966"/>
                    <a:pt x="497519" y="34066"/>
                    <a:pt x="451763" y="45685"/>
                  </a:cubicBezTo>
                  <a:cubicBezTo>
                    <a:pt x="451763" y="45685"/>
                    <a:pt x="429852" y="51495"/>
                    <a:pt x="416318" y="55368"/>
                  </a:cubicBezTo>
                  <a:cubicBezTo>
                    <a:pt x="402785" y="59241"/>
                    <a:pt x="384095" y="64405"/>
                    <a:pt x="384095" y="64405"/>
                  </a:cubicBezTo>
                  <a:cubicBezTo>
                    <a:pt x="371206" y="68278"/>
                    <a:pt x="358317" y="72797"/>
                    <a:pt x="345428" y="77315"/>
                  </a:cubicBezTo>
                  <a:cubicBezTo>
                    <a:pt x="358317" y="90225"/>
                    <a:pt x="366051" y="107009"/>
                    <a:pt x="366695" y="126374"/>
                  </a:cubicBezTo>
                  <a:cubicBezTo>
                    <a:pt x="389251" y="116046"/>
                    <a:pt x="432429" y="100554"/>
                    <a:pt x="467875" y="88289"/>
                  </a:cubicBezTo>
                  <a:close/>
                </a:path>
              </a:pathLst>
            </a:custGeom>
            <a:solidFill>
              <a:srgbClr val="E30034"/>
            </a:solidFill>
            <a:ln w="64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baseline="0" noProof="0" dirty="0"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2" name="MIO_AGENDA_IGNORE_NAVIGATION" hidden="1">
            <a:extLst>
              <a:ext uri="{FF2B5EF4-FFF2-40B4-BE49-F238E27FC236}">
                <a16:creationId xmlns:a16="http://schemas.microsoft.com/office/drawing/2014/main" id="{03AF05FD-8ED3-440D-B616-18664CA13DD2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16" name="MIO_AGENDA_IGNORE_CHAPTER_REFERENCE" hidden="1">
            <a:extLst>
              <a:ext uri="{FF2B5EF4-FFF2-40B4-BE49-F238E27FC236}">
                <a16:creationId xmlns:a16="http://schemas.microsoft.com/office/drawing/2014/main" id="{E0053FF2-2ADB-4CE0-850C-04ADE25DFF5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17" name="Date Placeholder 16" hidden="1">
            <a:extLst>
              <a:ext uri="{FF2B5EF4-FFF2-40B4-BE49-F238E27FC236}">
                <a16:creationId xmlns:a16="http://schemas.microsoft.com/office/drawing/2014/main" id="{B19EA23C-BCB4-4E72-A8B3-AFF05FD396BC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8" name="Footer Placeholder 17" hidden="1">
            <a:extLst>
              <a:ext uri="{FF2B5EF4-FFF2-40B4-BE49-F238E27FC236}">
                <a16:creationId xmlns:a16="http://schemas.microsoft.com/office/drawing/2014/main" id="{271BB539-26D3-4B9C-9F13-4E382668BE89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8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9" name="Slide Number Placeholder 18" hidden="1">
            <a:extLst>
              <a:ext uri="{FF2B5EF4-FFF2-40B4-BE49-F238E27FC236}">
                <a16:creationId xmlns:a16="http://schemas.microsoft.com/office/drawing/2014/main" id="{970E7400-5A78-4596-8A13-DC8308CA511D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C370ED20-2DD7-4652-95B4-6C73AD11EB7F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55361232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Row |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ECAA0892-68E2-4E2E-9B18-4A8DC40F0E11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empower_document_placeholder" hidden="1">
            <a:extLst>
              <a:ext uri="{FF2B5EF4-FFF2-40B4-BE49-F238E27FC236}">
                <a16:creationId xmlns:a16="http://schemas.microsoft.com/office/drawing/2014/main" id="{D16A0514-897C-427C-A5CD-34FCB4F6BF11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5" name="empower_proprietary_placeholder" hidden="1">
            <a:extLst>
              <a:ext uri="{FF2B5EF4-FFF2-40B4-BE49-F238E27FC236}">
                <a16:creationId xmlns:a16="http://schemas.microsoft.com/office/drawing/2014/main" id="{A6FCF5E5-2935-4FDA-903C-EA43A699BD8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7" name="empower_draft_placeholder" hidden="1">
            <a:extLst>
              <a:ext uri="{FF2B5EF4-FFF2-40B4-BE49-F238E27FC236}">
                <a16:creationId xmlns:a16="http://schemas.microsoft.com/office/drawing/2014/main" id="{115A00C6-A501-466D-A34B-23C1071DA39E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empower_footer_placeholder">
            <a:extLst>
              <a:ext uri="{FF2B5EF4-FFF2-40B4-BE49-F238E27FC236}">
                <a16:creationId xmlns:a16="http://schemas.microsoft.com/office/drawing/2014/main" id="{0C8DD3BC-73D2-4101-B037-359F1B42B434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21" name="empower_classification_attention_placeholder" hidden="1">
            <a:extLst>
              <a:ext uri="{FF2B5EF4-FFF2-40B4-BE49-F238E27FC236}">
                <a16:creationId xmlns:a16="http://schemas.microsoft.com/office/drawing/2014/main" id="{D39CEC28-75A6-43F3-9DE9-2436F3F4D9C6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3" name="empower_classification_placeholder">
            <a:extLst>
              <a:ext uri="{FF2B5EF4-FFF2-40B4-BE49-F238E27FC236}">
                <a16:creationId xmlns:a16="http://schemas.microsoft.com/office/drawing/2014/main" id="{FC21F178-EFAA-49DE-A35E-72E2C0CA3B0B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5" name="empower_date_placeholder">
            <a:extLst>
              <a:ext uri="{FF2B5EF4-FFF2-40B4-BE49-F238E27FC236}">
                <a16:creationId xmlns:a16="http://schemas.microsoft.com/office/drawing/2014/main" id="{43B2B732-8EC3-4F44-986D-B5DAC6EA77C1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  <a:endParaRPr lang="en-US" sz="800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2"/>
            <a:ext cx="11520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Bottom Left"/>
          <p:cNvSpPr>
            <a:spLocks noGrp="1"/>
          </p:cNvSpPr>
          <p:nvPr>
            <p:ph sz="quarter" idx="14" hasCustomPrompt="1"/>
          </p:nvPr>
        </p:nvSpPr>
        <p:spPr>
          <a:xfrm>
            <a:off x="334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Bottom Right"/>
          <p:cNvSpPr>
            <a:spLocks noGrp="1"/>
          </p:cNvSpPr>
          <p:nvPr>
            <p:ph sz="quarter" idx="15" hasCustomPrompt="1"/>
          </p:nvPr>
        </p:nvSpPr>
        <p:spPr>
          <a:xfrm>
            <a:off x="6166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3ADACDEE-D42E-4EEF-8504-614B0FC9EF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9F595BB6-F050-434C-AF4B-533D75C5E5D3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3ABBB783-BFC3-406F-9AE2-14E6D55F43A3}"/>
              </a:ext>
            </a:extLst>
          </p:cNvPr>
          <p:cNvSpPr>
            <a:spLocks noGrp="1"/>
          </p:cNvSpPr>
          <p:nvPr>
            <p:ph type="dt" sz="half" idx="16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2" name="Footer Placeholder 11" hidden="1">
            <a:extLst>
              <a:ext uri="{FF2B5EF4-FFF2-40B4-BE49-F238E27FC236}">
                <a16:creationId xmlns:a16="http://schemas.microsoft.com/office/drawing/2014/main" id="{7DAA9CDC-CAD4-4554-97D9-7059E95FE638}"/>
              </a:ext>
            </a:extLst>
          </p:cNvPr>
          <p:cNvSpPr>
            <a:spLocks noGrp="1"/>
          </p:cNvSpPr>
          <p:nvPr>
            <p:ph type="ftr" sz="quarter" idx="17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4" name="Slide Number Placeholder 13" hidden="1">
            <a:extLst>
              <a:ext uri="{FF2B5EF4-FFF2-40B4-BE49-F238E27FC236}">
                <a16:creationId xmlns:a16="http://schemas.microsoft.com/office/drawing/2014/main" id="{07C82FBB-C728-405A-8E31-DE02DA8D9177}"/>
              </a:ext>
            </a:extLst>
          </p:cNvPr>
          <p:cNvSpPr>
            <a:spLocks noGrp="1"/>
          </p:cNvSpPr>
          <p:nvPr>
            <p:ph type="sldNum" sz="quarter" idx="18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03708507-303A-4696-8A49-D64DA70EAF1B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2273">
          <p15:clr>
            <a:srgbClr val="FBAE40"/>
          </p15:clr>
        </p15:guide>
        <p15:guide id="2" orient="horz" pos="799">
          <p15:clr>
            <a:srgbClr val="FBAE40"/>
          </p15:clr>
        </p15:guide>
        <p15:guide id="3" orient="horz" pos="4020">
          <p15:clr>
            <a:srgbClr val="FBAE40"/>
          </p15:clr>
        </p15:guide>
        <p15:guide id="4" pos="7469">
          <p15:clr>
            <a:srgbClr val="FBAE40"/>
          </p15:clr>
        </p15:guide>
        <p15:guide id="5" pos="3885">
          <p15:clr>
            <a:srgbClr val="FBAE40"/>
          </p15:clr>
        </p15:guide>
        <p15:guide id="6" pos="3795">
          <p15:clr>
            <a:srgbClr val="FBAE40"/>
          </p15:clr>
        </p15:guide>
        <p15:guide id="7" pos="211">
          <p15:clr>
            <a:srgbClr val="FBAE40"/>
          </p15:clr>
        </p15:guide>
        <p15:guide id="8" orient="horz" pos="243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 preserve="1">
  <p:cSld name="Row | 2 columns |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C812AE9A-81D7-4AE8-BC9F-85686450823C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BA8D3527-E357-41F9-99D1-BCEAEC88D70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3A1A2EC5-F603-4F90-ADD8-B8933F3B810B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FA03A6F0-5545-409D-93A9-5E09698484A1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empower_footer_placeholder">
            <a:extLst>
              <a:ext uri="{FF2B5EF4-FFF2-40B4-BE49-F238E27FC236}">
                <a16:creationId xmlns:a16="http://schemas.microsoft.com/office/drawing/2014/main" id="{97E57A33-CDFD-4C72-B657-882682DACB1E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5A896D99-24DF-4F81-9EC3-37F5EF05FFED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4" name="empower_classification_placeholder">
            <a:extLst>
              <a:ext uri="{FF2B5EF4-FFF2-40B4-BE49-F238E27FC236}">
                <a16:creationId xmlns:a16="http://schemas.microsoft.com/office/drawing/2014/main" id="{F09BE8EF-EBD2-4B7A-9878-8440DC26C91A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6" name="empower_date_placeholder">
            <a:extLst>
              <a:ext uri="{FF2B5EF4-FFF2-40B4-BE49-F238E27FC236}">
                <a16:creationId xmlns:a16="http://schemas.microsoft.com/office/drawing/2014/main" id="{99207B66-AFA5-4510-BF1D-29423C34CEF2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433" y="1268412"/>
            <a:ext cx="11521280" cy="126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Content Center Left"/>
          <p:cNvSpPr>
            <a:spLocks noGrp="1"/>
          </p:cNvSpPr>
          <p:nvPr>
            <p:ph sz="quarter" idx="14" hasCustomPrompt="1"/>
          </p:nvPr>
        </p:nvSpPr>
        <p:spPr>
          <a:xfrm>
            <a:off x="334800" y="2780913"/>
            <a:ext cx="5688000" cy="198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Center Right"/>
          <p:cNvSpPr>
            <a:spLocks noGrp="1"/>
          </p:cNvSpPr>
          <p:nvPr>
            <p:ph sz="quarter" idx="15" hasCustomPrompt="1"/>
          </p:nvPr>
        </p:nvSpPr>
        <p:spPr>
          <a:xfrm>
            <a:off x="6167437" y="2780913"/>
            <a:ext cx="5688000" cy="198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Bottom"/>
          <p:cNvSpPr>
            <a:spLocks noGrp="1"/>
          </p:cNvSpPr>
          <p:nvPr>
            <p:ph sz="quarter" idx="16" hasCustomPrompt="1"/>
          </p:nvPr>
        </p:nvSpPr>
        <p:spPr>
          <a:xfrm>
            <a:off x="334433" y="5085186"/>
            <a:ext cx="11521280" cy="1296567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42CB6C61-472A-4F78-8808-601D74D8D1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878DF235-2AD8-4C82-A0BD-D1BDFC873704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A9104FB9-0912-4A0F-BBB7-DF055F829451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E424A36D-7777-4A82-B12F-96CE1F877678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E1CCD2B2-40D2-43D5-80C4-5322AD403334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1235F132-B0A2-4CF3-A146-5DF950DFB464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885">
          <p15:clr>
            <a:srgbClr val="FBAE40"/>
          </p15:clr>
        </p15:guide>
        <p15:guide id="2" pos="3795">
          <p15:clr>
            <a:srgbClr val="FBAE40"/>
          </p15:clr>
        </p15:guide>
        <p15:guide id="3" pos="211">
          <p15:clr>
            <a:srgbClr val="FBAE40"/>
          </p15:clr>
        </p15:guide>
        <p15:guide id="4" pos="7469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1593">
          <p15:clr>
            <a:srgbClr val="FBAE40"/>
          </p15:clr>
        </p15:guide>
        <p15:guide id="7" orient="horz" pos="1752">
          <p15:clr>
            <a:srgbClr val="FBAE40"/>
          </p15:clr>
        </p15:guide>
        <p15:guide id="8" orient="horz" pos="2999">
          <p15:clr>
            <a:srgbClr val="FBAE40"/>
          </p15:clr>
        </p15:guide>
        <p15:guide id="9" orient="horz" pos="3203">
          <p15:clr>
            <a:srgbClr val="FBAE40"/>
          </p15:clr>
        </p15:guide>
        <p15:guide id="10" orient="horz" pos="402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Tx" preserve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7FB993A8-52D6-439E-9FD7-796FB1371096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empower_document_placeholder" hidden="1">
            <a:extLst>
              <a:ext uri="{FF2B5EF4-FFF2-40B4-BE49-F238E27FC236}">
                <a16:creationId xmlns:a16="http://schemas.microsoft.com/office/drawing/2014/main" id="{112013B0-A00B-4A1F-90FB-E2E8B2F86D5D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5" name="empower_proprietary_placeholder" hidden="1">
            <a:extLst>
              <a:ext uri="{FF2B5EF4-FFF2-40B4-BE49-F238E27FC236}">
                <a16:creationId xmlns:a16="http://schemas.microsoft.com/office/drawing/2014/main" id="{FC3769D5-91E6-43B0-BC4B-C0040A71CFD6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7" name="empower_draft_placeholder" hidden="1">
            <a:extLst>
              <a:ext uri="{FF2B5EF4-FFF2-40B4-BE49-F238E27FC236}">
                <a16:creationId xmlns:a16="http://schemas.microsoft.com/office/drawing/2014/main" id="{B0E0CB85-0435-4FEC-B2B6-D19200B62923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empower_footer_placeholder">
            <a:extLst>
              <a:ext uri="{FF2B5EF4-FFF2-40B4-BE49-F238E27FC236}">
                <a16:creationId xmlns:a16="http://schemas.microsoft.com/office/drawing/2014/main" id="{557CA6BF-F2F9-417F-A2FD-035F1FC85693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21" name="empower_classification_attention_placeholder" hidden="1">
            <a:extLst>
              <a:ext uri="{FF2B5EF4-FFF2-40B4-BE49-F238E27FC236}">
                <a16:creationId xmlns:a16="http://schemas.microsoft.com/office/drawing/2014/main" id="{8C605CA2-9EAD-450F-BC1B-8D9AF92E5875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3" name="empower_classification_placeholder">
            <a:extLst>
              <a:ext uri="{FF2B5EF4-FFF2-40B4-BE49-F238E27FC236}">
                <a16:creationId xmlns:a16="http://schemas.microsoft.com/office/drawing/2014/main" id="{4E82CE8C-8E20-4C1A-B65C-F8A30CF5A153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5" name="empower_date_placeholder">
            <a:extLst>
              <a:ext uri="{FF2B5EF4-FFF2-40B4-BE49-F238E27FC236}">
                <a16:creationId xmlns:a16="http://schemas.microsoft.com/office/drawing/2014/main" id="{D96F0A90-37BC-4B0D-A29D-8711C51DD447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</a:p>
        </p:txBody>
      </p:sp>
      <p:sp>
        <p:nvSpPr>
          <p:cNvPr id="7" name="Content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3744384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Center"/>
          <p:cNvSpPr>
            <a:spLocks noGrp="1"/>
          </p:cNvSpPr>
          <p:nvPr>
            <p:ph sz="quarter" idx="14" hasCustomPrompt="1"/>
          </p:nvPr>
        </p:nvSpPr>
        <p:spPr>
          <a:xfrm>
            <a:off x="4262399" y="1268414"/>
            <a:ext cx="3672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Right"/>
          <p:cNvSpPr>
            <a:spLocks noGrp="1"/>
          </p:cNvSpPr>
          <p:nvPr>
            <p:ph sz="quarter" idx="15" hasCustomPrompt="1"/>
          </p:nvPr>
        </p:nvSpPr>
        <p:spPr>
          <a:xfrm>
            <a:off x="8113184" y="1268414"/>
            <a:ext cx="3744416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A635AE4-FE20-4282-BFFD-96EBDCED60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96E14A5B-9E91-4287-8D3D-9F9C469D8ECA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210BD89C-2BAC-459E-A79D-05B6C0B33362}"/>
              </a:ext>
            </a:extLst>
          </p:cNvPr>
          <p:cNvSpPr>
            <a:spLocks noGrp="1"/>
          </p:cNvSpPr>
          <p:nvPr>
            <p:ph type="dt" sz="half" idx="16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2" name="Footer Placeholder 11" hidden="1">
            <a:extLst>
              <a:ext uri="{FF2B5EF4-FFF2-40B4-BE49-F238E27FC236}">
                <a16:creationId xmlns:a16="http://schemas.microsoft.com/office/drawing/2014/main" id="{13A018B2-30A4-435D-A599-2BE57EAB5CBC}"/>
              </a:ext>
            </a:extLst>
          </p:cNvPr>
          <p:cNvSpPr>
            <a:spLocks noGrp="1"/>
          </p:cNvSpPr>
          <p:nvPr>
            <p:ph type="ftr" sz="quarter" idx="17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4" name="Slide Number Placeholder 13" hidden="1">
            <a:extLst>
              <a:ext uri="{FF2B5EF4-FFF2-40B4-BE49-F238E27FC236}">
                <a16:creationId xmlns:a16="http://schemas.microsoft.com/office/drawing/2014/main" id="{B6CA23A5-CFDD-4B39-B853-6A18A878BFBF}"/>
              </a:ext>
            </a:extLst>
          </p:cNvPr>
          <p:cNvSpPr>
            <a:spLocks noGrp="1"/>
          </p:cNvSpPr>
          <p:nvPr>
            <p:ph type="sldNum" sz="quarter" idx="18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226441E8-60EA-42A3-B978-BA612ACACF40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  <p15:guide id="2" orient="horz" pos="799">
          <p15:clr>
            <a:srgbClr val="FBAE40"/>
          </p15:clr>
        </p15:guide>
        <p15:guide id="3" pos="4997">
          <p15:clr>
            <a:srgbClr val="FBAE40"/>
          </p15:clr>
        </p15:guide>
        <p15:guide id="4" pos="2683">
          <p15:clr>
            <a:srgbClr val="FBAE40"/>
          </p15:clr>
        </p15:guide>
        <p15:guide id="5" pos="2570">
          <p15:clr>
            <a:srgbClr val="FBAE40"/>
          </p15:clr>
        </p15:guide>
        <p15:guide id="6" pos="5110">
          <p15:clr>
            <a:srgbClr val="FBAE40"/>
          </p15:clr>
        </p15:guide>
        <p15:guide id="7" pos="211">
          <p15:clr>
            <a:srgbClr val="FBAE40"/>
          </p15:clr>
        </p15:guide>
        <p15:guide id="8" pos="7469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Row |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488416C1-009C-4276-862C-859A39D89869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B192327F-A51B-41E2-B3F1-79934B28290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EE529511-279F-4E8D-B98F-7745CB480D7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7712C297-5B52-4E05-AEC3-8C81F2A74EE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empower_footer_placeholder">
            <a:extLst>
              <a:ext uri="{FF2B5EF4-FFF2-40B4-BE49-F238E27FC236}">
                <a16:creationId xmlns:a16="http://schemas.microsoft.com/office/drawing/2014/main" id="{C492E0D9-97C5-4A27-B585-4460769C4D67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EB4DD739-504C-48CA-BA98-DEE0B3A91EAB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4" name="empower_classification_placeholder">
            <a:extLst>
              <a:ext uri="{FF2B5EF4-FFF2-40B4-BE49-F238E27FC236}">
                <a16:creationId xmlns:a16="http://schemas.microsoft.com/office/drawing/2014/main" id="{D547197E-1EC3-47AA-B644-4B7771421A2B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6" name="empower_date_placeholder">
            <a:extLst>
              <a:ext uri="{FF2B5EF4-FFF2-40B4-BE49-F238E27FC236}">
                <a16:creationId xmlns:a16="http://schemas.microsoft.com/office/drawing/2014/main" id="{5B4084F1-8114-4C22-84F5-3D14817A7904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11521280" cy="136842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Content Left"/>
          <p:cNvSpPr>
            <a:spLocks noGrp="1"/>
          </p:cNvSpPr>
          <p:nvPr>
            <p:ph sz="quarter" idx="14" hasCustomPrompt="1"/>
          </p:nvPr>
        </p:nvSpPr>
        <p:spPr>
          <a:xfrm>
            <a:off x="334800" y="2781300"/>
            <a:ext cx="3744000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Center"/>
          <p:cNvSpPr>
            <a:spLocks noGrp="1"/>
          </p:cNvSpPr>
          <p:nvPr>
            <p:ph sz="quarter" idx="15" hasCustomPrompt="1"/>
          </p:nvPr>
        </p:nvSpPr>
        <p:spPr>
          <a:xfrm>
            <a:off x="4259262" y="2781300"/>
            <a:ext cx="3673475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Right"/>
          <p:cNvSpPr>
            <a:spLocks noGrp="1"/>
          </p:cNvSpPr>
          <p:nvPr>
            <p:ph sz="quarter" idx="16" hasCustomPrompt="1"/>
          </p:nvPr>
        </p:nvSpPr>
        <p:spPr>
          <a:xfrm>
            <a:off x="8113186" y="2781300"/>
            <a:ext cx="3744383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6C581746-1B2C-4D98-9755-6221A3ED9E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7AAAECD1-71D2-46B6-BF2D-6007823BA888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EA8AF054-4363-4E54-A605-8A5E7CD05422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C839DAF8-6F4C-441B-B45B-348B7EA8B4B3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0CBA086A-526B-43F0-BEDE-EC3219CC7834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F76E7CBE-7230-4110-85FB-3718D4B81343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4997">
          <p15:clr>
            <a:srgbClr val="FBAE40"/>
          </p15:clr>
        </p15:guide>
        <p15:guide id="2" pos="5110">
          <p15:clr>
            <a:srgbClr val="FBAE40"/>
          </p15:clr>
        </p15:guide>
        <p15:guide id="3" pos="7469">
          <p15:clr>
            <a:srgbClr val="FBAE40"/>
          </p15:clr>
        </p15:guide>
        <p15:guide id="4" pos="2683">
          <p15:clr>
            <a:srgbClr val="FBAE40"/>
          </p15:clr>
        </p15:guide>
        <p15:guide id="5" pos="2570">
          <p15:clr>
            <a:srgbClr val="FBAE40"/>
          </p15:clr>
        </p15:guide>
        <p15:guide id="6" pos="211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orient="horz" pos="4020">
          <p15:clr>
            <a:srgbClr val="FBAE40"/>
          </p15:clr>
        </p15:guide>
        <p15:guide id="9" orient="horz" pos="1661">
          <p15:clr>
            <a:srgbClr val="FBAE40"/>
          </p15:clr>
        </p15:guide>
        <p15:guide id="10" orient="horz" pos="1752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Media" preserve="1">
  <p:cSld name="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mpower_additionalText_placeholder" hidden="1">
            <a:extLst>
              <a:ext uri="{FF2B5EF4-FFF2-40B4-BE49-F238E27FC236}">
                <a16:creationId xmlns:a16="http://schemas.microsoft.com/office/drawing/2014/main" id="{5BFFD0DD-DDFD-422B-86D9-F164E68C0538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empower_document_placeholder" hidden="1">
            <a:extLst>
              <a:ext uri="{FF2B5EF4-FFF2-40B4-BE49-F238E27FC236}">
                <a16:creationId xmlns:a16="http://schemas.microsoft.com/office/drawing/2014/main" id="{DF070F93-7F88-456A-894C-885F8AC591A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6" name="empower_proprietary_placeholder" hidden="1">
            <a:extLst>
              <a:ext uri="{FF2B5EF4-FFF2-40B4-BE49-F238E27FC236}">
                <a16:creationId xmlns:a16="http://schemas.microsoft.com/office/drawing/2014/main" id="{9A5FF993-F527-4569-A066-E8D346767DE0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7" name="empower_draft_placeholder" hidden="1">
            <a:extLst>
              <a:ext uri="{FF2B5EF4-FFF2-40B4-BE49-F238E27FC236}">
                <a16:creationId xmlns:a16="http://schemas.microsoft.com/office/drawing/2014/main" id="{709C3987-21ED-4B60-B90F-837FB1F2A7A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empower_footer_placeholder">
            <a:extLst>
              <a:ext uri="{FF2B5EF4-FFF2-40B4-BE49-F238E27FC236}">
                <a16:creationId xmlns:a16="http://schemas.microsoft.com/office/drawing/2014/main" id="{C33D0117-4C9D-47FC-BBAF-7D90814DB7C7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10" name="empower_classification_attention_placeholder" hidden="1">
            <a:extLst>
              <a:ext uri="{FF2B5EF4-FFF2-40B4-BE49-F238E27FC236}">
                <a16:creationId xmlns:a16="http://schemas.microsoft.com/office/drawing/2014/main" id="{40F47B66-9156-4480-85AF-99EB0563F553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4" name="empower_classification_placeholder">
            <a:extLst>
              <a:ext uri="{FF2B5EF4-FFF2-40B4-BE49-F238E27FC236}">
                <a16:creationId xmlns:a16="http://schemas.microsoft.com/office/drawing/2014/main" id="{B1D76006-023D-437E-80D1-B8FC83CA1329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6" name="empower_date_placeholder">
            <a:extLst>
              <a:ext uri="{FF2B5EF4-FFF2-40B4-BE49-F238E27FC236}">
                <a16:creationId xmlns:a16="http://schemas.microsoft.com/office/drawing/2014/main" id="{71DC81B7-1CCA-48F9-8AB9-34BBC16340CF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</a:p>
        </p:txBody>
      </p:sp>
      <p:sp>
        <p:nvSpPr>
          <p:cNvPr id="8" name="Content Left">
            <a:extLst>
              <a:ext uri="{FF2B5EF4-FFF2-40B4-BE49-F238E27FC236}">
                <a16:creationId xmlns:a16="http://schemas.microsoft.com/office/drawing/2014/main" id="{371B7856-37AA-4EBD-9A28-1045DC90A92A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34799" y="1268414"/>
            <a:ext cx="2808000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Content Center Left">
            <a:extLst>
              <a:ext uri="{FF2B5EF4-FFF2-40B4-BE49-F238E27FC236}">
                <a16:creationId xmlns:a16="http://schemas.microsoft.com/office/drawing/2014/main" id="{AB4408A9-DF90-4D32-8AE8-9278539718C0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324225" y="1268414"/>
            <a:ext cx="2663825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Center Right">
            <a:extLst>
              <a:ext uri="{FF2B5EF4-FFF2-40B4-BE49-F238E27FC236}">
                <a16:creationId xmlns:a16="http://schemas.microsoft.com/office/drawing/2014/main" id="{FFF96914-9970-46DB-82A4-AB1B80110378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203950" y="1268414"/>
            <a:ext cx="2663825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Content Right">
            <a:extLst>
              <a:ext uri="{FF2B5EF4-FFF2-40B4-BE49-F238E27FC236}">
                <a16:creationId xmlns:a16="http://schemas.microsoft.com/office/drawing/2014/main" id="{6803C6B1-D864-4BE6-AE1F-CA280F4DABD8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9048750" y="1268414"/>
            <a:ext cx="2807593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CDD773CC-FCEC-46C8-A75B-E70A26A7BF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4" name="LOGO PROTECTION" hidden="1">
            <a:extLst>
              <a:ext uri="{FF2B5EF4-FFF2-40B4-BE49-F238E27FC236}">
                <a16:creationId xmlns:a16="http://schemas.microsoft.com/office/drawing/2014/main" id="{FC67C23C-8514-4FAA-ABF5-040B63DA67C4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735BE885-8732-4220-942B-E6D8F286274D}"/>
              </a:ext>
            </a:extLst>
          </p:cNvPr>
          <p:cNvSpPr>
            <a:spLocks noGrp="1"/>
          </p:cNvSpPr>
          <p:nvPr>
            <p:ph type="dt" sz="half" idx="24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3" name="Footer Placeholder 12" hidden="1">
            <a:extLst>
              <a:ext uri="{FF2B5EF4-FFF2-40B4-BE49-F238E27FC236}">
                <a16:creationId xmlns:a16="http://schemas.microsoft.com/office/drawing/2014/main" id="{30570D12-AEFF-4406-B206-CB0D80D8FF49}"/>
              </a:ext>
            </a:extLst>
          </p:cNvPr>
          <p:cNvSpPr>
            <a:spLocks noGrp="1"/>
          </p:cNvSpPr>
          <p:nvPr>
            <p:ph type="ftr" sz="quarter" idx="25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6" name="Slide Number Placeholder 15" hidden="1">
            <a:extLst>
              <a:ext uri="{FF2B5EF4-FFF2-40B4-BE49-F238E27FC236}">
                <a16:creationId xmlns:a16="http://schemas.microsoft.com/office/drawing/2014/main" id="{C49E2653-C8D1-4594-B3A4-0606A88CBB62}"/>
              </a:ext>
            </a:extLst>
          </p:cNvPr>
          <p:cNvSpPr>
            <a:spLocks noGrp="1"/>
          </p:cNvSpPr>
          <p:nvPr>
            <p:ph type="sldNum" sz="quarter" idx="26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18" name="MIO_Placeholder_Mapping" hidden="1">
            <a:extLst>
              <a:ext uri="{FF2B5EF4-FFF2-40B4-BE49-F238E27FC236}">
                <a16:creationId xmlns:a16="http://schemas.microsoft.com/office/drawing/2014/main" id="{12ADA7AE-DD1C-409A-B0A5-6D14FF7BF270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pos="7469">
          <p15:clr>
            <a:srgbClr val="FBAE40"/>
          </p15:clr>
        </p15:guide>
        <p15:guide id="4" pos="211">
          <p15:clr>
            <a:srgbClr val="FBAE40"/>
          </p15:clr>
        </p15:guide>
        <p15:guide id="5" pos="3908">
          <p15:clr>
            <a:srgbClr val="FBAE40"/>
          </p15:clr>
        </p15:guide>
        <p15:guide id="6" pos="3772">
          <p15:clr>
            <a:srgbClr val="FBAE40"/>
          </p15:clr>
        </p15:guide>
        <p15:guide id="7" pos="5586">
          <p15:clr>
            <a:srgbClr val="FBAE40"/>
          </p15:clr>
        </p15:guide>
        <p15:guide id="8" pos="5700">
          <p15:clr>
            <a:srgbClr val="FBAE40"/>
          </p15:clr>
        </p15:guide>
        <p15:guide id="9" pos="1980">
          <p15:clr>
            <a:srgbClr val="FBAE40"/>
          </p15:clr>
        </p15:guide>
        <p15:guide id="10" pos="2094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Row |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mpower_additionalText_placeholder" hidden="1">
            <a:extLst>
              <a:ext uri="{FF2B5EF4-FFF2-40B4-BE49-F238E27FC236}">
                <a16:creationId xmlns:a16="http://schemas.microsoft.com/office/drawing/2014/main" id="{598DE9EE-A198-41B5-9814-41C66F96D3B0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empower_document_placeholder" hidden="1">
            <a:extLst>
              <a:ext uri="{FF2B5EF4-FFF2-40B4-BE49-F238E27FC236}">
                <a16:creationId xmlns:a16="http://schemas.microsoft.com/office/drawing/2014/main" id="{0AFB1D71-5FD7-446C-90B5-1DE68C513BD6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6" name="empower_proprietary_placeholder" hidden="1">
            <a:extLst>
              <a:ext uri="{FF2B5EF4-FFF2-40B4-BE49-F238E27FC236}">
                <a16:creationId xmlns:a16="http://schemas.microsoft.com/office/drawing/2014/main" id="{57168C6C-B95E-4260-9301-8D1D5988F67B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7" name="empower_draft_placeholder" hidden="1">
            <a:extLst>
              <a:ext uri="{FF2B5EF4-FFF2-40B4-BE49-F238E27FC236}">
                <a16:creationId xmlns:a16="http://schemas.microsoft.com/office/drawing/2014/main" id="{729E2230-F28C-4139-A2F7-536C0BDB8E99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empower_footer_placeholder">
            <a:extLst>
              <a:ext uri="{FF2B5EF4-FFF2-40B4-BE49-F238E27FC236}">
                <a16:creationId xmlns:a16="http://schemas.microsoft.com/office/drawing/2014/main" id="{2A98BB16-D9CD-4785-A71C-21C57A554883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10" name="empower_classification_attention_placeholder" hidden="1">
            <a:extLst>
              <a:ext uri="{FF2B5EF4-FFF2-40B4-BE49-F238E27FC236}">
                <a16:creationId xmlns:a16="http://schemas.microsoft.com/office/drawing/2014/main" id="{333A1F8F-A990-434A-92C1-D59A014E7AFF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1" name="empower_classification_placeholder">
            <a:extLst>
              <a:ext uri="{FF2B5EF4-FFF2-40B4-BE49-F238E27FC236}">
                <a16:creationId xmlns:a16="http://schemas.microsoft.com/office/drawing/2014/main" id="{DBAA7875-DC7B-4CB1-AFAA-A99AEDD01BF7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5" name="empower_date_placeholder">
            <a:extLst>
              <a:ext uri="{FF2B5EF4-FFF2-40B4-BE49-F238E27FC236}">
                <a16:creationId xmlns:a16="http://schemas.microsoft.com/office/drawing/2014/main" id="{5743D8EF-9336-4669-BBD9-501D062A3DB4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  <a:endParaRPr lang="en-US" sz="800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Content Top">
            <a:extLst>
              <a:ext uri="{FF2B5EF4-FFF2-40B4-BE49-F238E27FC236}">
                <a16:creationId xmlns:a16="http://schemas.microsoft.com/office/drawing/2014/main" id="{B528FDA5-64C4-4079-B7B7-97722BA30039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34800" y="1268414"/>
            <a:ext cx="11521280" cy="1368425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2" name="Content Left">
            <a:extLst>
              <a:ext uri="{FF2B5EF4-FFF2-40B4-BE49-F238E27FC236}">
                <a16:creationId xmlns:a16="http://schemas.microsoft.com/office/drawing/2014/main" id="{11455573-DB68-4634-9EB0-10FDA72EB09C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34800" y="2781300"/>
            <a:ext cx="2808000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Content Center Left">
            <a:extLst>
              <a:ext uri="{FF2B5EF4-FFF2-40B4-BE49-F238E27FC236}">
                <a16:creationId xmlns:a16="http://schemas.microsoft.com/office/drawing/2014/main" id="{DF6A34C2-8D0D-4C18-BD01-86B1344A92DF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324225" y="2781300"/>
            <a:ext cx="2663825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8" name="Content Center Right">
            <a:extLst>
              <a:ext uri="{FF2B5EF4-FFF2-40B4-BE49-F238E27FC236}">
                <a16:creationId xmlns:a16="http://schemas.microsoft.com/office/drawing/2014/main" id="{A331F240-D4BB-4096-BFB7-002D583A4FC9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203950" y="2781300"/>
            <a:ext cx="2663825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Content Right">
            <a:extLst>
              <a:ext uri="{FF2B5EF4-FFF2-40B4-BE49-F238E27FC236}">
                <a16:creationId xmlns:a16="http://schemas.microsoft.com/office/drawing/2014/main" id="{2BEB3BE2-22F6-4B6B-AB28-F38AB449DED5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9048750" y="2781300"/>
            <a:ext cx="2807593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B9A27F18-A46A-4C29-AB62-7BEB5215CA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4" name="LOGO PROTECTION" hidden="1">
            <a:extLst>
              <a:ext uri="{FF2B5EF4-FFF2-40B4-BE49-F238E27FC236}">
                <a16:creationId xmlns:a16="http://schemas.microsoft.com/office/drawing/2014/main" id="{DDE018F7-7CB9-4F69-872D-4609CBE453C0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580E7AAC-C545-4F05-8939-1B218CC948D8}"/>
              </a:ext>
            </a:extLst>
          </p:cNvPr>
          <p:cNvSpPr>
            <a:spLocks noGrp="1"/>
          </p:cNvSpPr>
          <p:nvPr>
            <p:ph type="dt" sz="half" idx="26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86E86CFC-21FB-497B-BD25-729619D70F13}"/>
              </a:ext>
            </a:extLst>
          </p:cNvPr>
          <p:cNvSpPr>
            <a:spLocks noGrp="1"/>
          </p:cNvSpPr>
          <p:nvPr>
            <p:ph type="ftr" sz="quarter" idx="27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7" name="Slide Number Placeholder 16" hidden="1">
            <a:extLst>
              <a:ext uri="{FF2B5EF4-FFF2-40B4-BE49-F238E27FC236}">
                <a16:creationId xmlns:a16="http://schemas.microsoft.com/office/drawing/2014/main" id="{C7A23CE7-AF5A-4245-A417-6A94DA58E485}"/>
              </a:ext>
            </a:extLst>
          </p:cNvPr>
          <p:cNvSpPr>
            <a:spLocks noGrp="1"/>
          </p:cNvSpPr>
          <p:nvPr>
            <p:ph type="sldNum" sz="quarter" idx="28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19" name="MIO_Placeholder_Mapping" hidden="1">
            <a:extLst>
              <a:ext uri="{FF2B5EF4-FFF2-40B4-BE49-F238E27FC236}">
                <a16:creationId xmlns:a16="http://schemas.microsoft.com/office/drawing/2014/main" id="{E3241B79-27A8-4873-89EC-D6F0564709E7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orient="horz" pos="1661">
          <p15:clr>
            <a:srgbClr val="FBAE40"/>
          </p15:clr>
        </p15:guide>
        <p15:guide id="3" orient="horz" pos="1752">
          <p15:clr>
            <a:srgbClr val="FBAE40"/>
          </p15:clr>
        </p15:guide>
        <p15:guide id="4" orient="horz" pos="4020">
          <p15:clr>
            <a:srgbClr val="FBAE40"/>
          </p15:clr>
        </p15:guide>
        <p15:guide id="5" pos="1980">
          <p15:clr>
            <a:srgbClr val="FBAE40"/>
          </p15:clr>
        </p15:guide>
        <p15:guide id="6" pos="211">
          <p15:clr>
            <a:srgbClr val="FBAE40"/>
          </p15:clr>
        </p15:guide>
        <p15:guide id="7" pos="2094">
          <p15:clr>
            <a:srgbClr val="FBAE40"/>
          </p15:clr>
        </p15:guide>
        <p15:guide id="8" pos="3772">
          <p15:clr>
            <a:srgbClr val="FBAE40"/>
          </p15:clr>
        </p15:guide>
        <p15:guide id="9" pos="3908">
          <p15:clr>
            <a:srgbClr val="FBAE40"/>
          </p15:clr>
        </p15:guide>
        <p15:guide id="10" pos="5586">
          <p15:clr>
            <a:srgbClr val="FBAE40"/>
          </p15:clr>
        </p15:guide>
        <p15:guide id="11" pos="5700">
          <p15:clr>
            <a:srgbClr val="FBAE40"/>
          </p15:clr>
        </p15:guide>
        <p15:guide id="12" pos="746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mpower_additionalText_placeholder" hidden="1">
            <a:extLst>
              <a:ext uri="{FF2B5EF4-FFF2-40B4-BE49-F238E27FC236}">
                <a16:creationId xmlns:a16="http://schemas.microsoft.com/office/drawing/2014/main" id="{8B492BE2-D2A2-481A-B24A-CDE1C12A85F8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C269EC22-FB11-4D33-A5AD-970FF7AE0E7D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2" name="empower_proprietary_placeholder" hidden="1">
            <a:extLst>
              <a:ext uri="{FF2B5EF4-FFF2-40B4-BE49-F238E27FC236}">
                <a16:creationId xmlns:a16="http://schemas.microsoft.com/office/drawing/2014/main" id="{4B1BF6CA-DC2D-48CD-962D-066217BE39A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4" name="empower_draft_placeholder" hidden="1">
            <a:extLst>
              <a:ext uri="{FF2B5EF4-FFF2-40B4-BE49-F238E27FC236}">
                <a16:creationId xmlns:a16="http://schemas.microsoft.com/office/drawing/2014/main" id="{884DECEF-9719-4244-AEE1-2AEA4754457D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empower_footer_placeholder">
            <a:extLst>
              <a:ext uri="{FF2B5EF4-FFF2-40B4-BE49-F238E27FC236}">
                <a16:creationId xmlns:a16="http://schemas.microsoft.com/office/drawing/2014/main" id="{4E03D739-7852-4964-A407-6FD3B0FC1EEE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18" name="empower_classification_attention_placeholder" hidden="1">
            <a:extLst>
              <a:ext uri="{FF2B5EF4-FFF2-40B4-BE49-F238E27FC236}">
                <a16:creationId xmlns:a16="http://schemas.microsoft.com/office/drawing/2014/main" id="{8BB80B65-0382-459F-AC7F-F3D707F65045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0" name="empower_classification_placeholder">
            <a:extLst>
              <a:ext uri="{FF2B5EF4-FFF2-40B4-BE49-F238E27FC236}">
                <a16:creationId xmlns:a16="http://schemas.microsoft.com/office/drawing/2014/main" id="{35CA1B3C-86AD-43CD-94E9-5A2E81B7D24E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2" name="empower_date_placeholder">
            <a:extLst>
              <a:ext uri="{FF2B5EF4-FFF2-40B4-BE49-F238E27FC236}">
                <a16:creationId xmlns:a16="http://schemas.microsoft.com/office/drawing/2014/main" id="{8E11CE1F-6424-469C-8957-85A359561FBF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106A8C73-A6AF-4DF0-8894-BF2EC7AA230E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9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8" name="Footer Placeholder 7" hidden="1">
            <a:extLst>
              <a:ext uri="{FF2B5EF4-FFF2-40B4-BE49-F238E27FC236}">
                <a16:creationId xmlns:a16="http://schemas.microsoft.com/office/drawing/2014/main" id="{AB7F0ADB-6E9B-485D-93FC-12BF83F0A674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 hidden="1">
            <a:extLst>
              <a:ext uri="{FF2B5EF4-FFF2-40B4-BE49-F238E27FC236}">
                <a16:creationId xmlns:a16="http://schemas.microsoft.com/office/drawing/2014/main" id="{688F703F-EAD1-4063-8445-95277BEEE9A3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11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2" name="MIO_Placeholder_Mapping" hidden="1">
            <a:extLst>
              <a:ext uri="{FF2B5EF4-FFF2-40B4-BE49-F238E27FC236}">
                <a16:creationId xmlns:a16="http://schemas.microsoft.com/office/drawing/2014/main" id="{1AE06898-E172-4A77-BE61-DAD235E107B9}"/>
              </a:ext>
            </a:extLst>
          </p:cNvPr>
          <p:cNvSpPr/>
          <p:nvPr userDrawn="1">
            <p:custDataLst>
              <p:tags r:id="rId12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7469" userDrawn="1">
          <p15:clr>
            <a:srgbClr val="FBAE40"/>
          </p15:clr>
        </p15:guide>
        <p15:guide id="2" pos="211" userDrawn="1">
          <p15:clr>
            <a:srgbClr val="FBAE40"/>
          </p15:clr>
        </p15:guide>
        <p15:guide id="3" orient="horz" pos="4020" userDrawn="1">
          <p15:clr>
            <a:srgbClr val="FBAE40"/>
          </p15:clr>
        </p15:guide>
        <p15:guide id="4" orient="horz" pos="799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Fullpic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C9A3C9F-7C21-45B3-9124-006DC5D0E64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12281 h 6858000"/>
              <a:gd name="connsiteX3" fmla="*/ 12192000 w 12192000"/>
              <a:gd name="connsiteY3" fmla="*/ 6823094 h 6858000"/>
              <a:gd name="connsiteX4" fmla="*/ 12192000 w 12192000"/>
              <a:gd name="connsiteY4" fmla="*/ 6858000 h 6858000"/>
              <a:gd name="connsiteX5" fmla="*/ 0 w 12192000"/>
              <a:gd name="connsiteY5" fmla="*/ 6858000 h 6858000"/>
              <a:gd name="connsiteX6" fmla="*/ 0 w 12192000"/>
              <a:gd name="connsiteY6" fmla="*/ 6823094 h 6858000"/>
              <a:gd name="connsiteX7" fmla="*/ 0 w 12192000"/>
              <a:gd name="connsiteY7" fmla="*/ 68122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12281"/>
                </a:lnTo>
                <a:lnTo>
                  <a:pt x="12192000" y="6823094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823094"/>
                </a:lnTo>
                <a:lnTo>
                  <a:pt x="0" y="6812281"/>
                </a:lnTo>
                <a:close/>
              </a:path>
            </a:pathLst>
          </a:custGeom>
          <a:solidFill>
            <a:srgbClr val="DCD5D7"/>
          </a:solidFill>
        </p:spPr>
        <p:txBody>
          <a:bodyPr wrap="square" tIns="2880000">
            <a:noAutofit/>
          </a:bodyPr>
          <a:lstStyle>
            <a:lvl1pPr algn="ctr">
              <a:buNone/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MIO_AGENDA_IGNORE_NAVIGATION" hidden="1">
            <a:extLst>
              <a:ext uri="{FF2B5EF4-FFF2-40B4-BE49-F238E27FC236}">
                <a16:creationId xmlns:a16="http://schemas.microsoft.com/office/drawing/2014/main" id="{298E6853-722D-4D8C-A4A5-A6FCEB4A06C0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4" name="MIO_AGENDA_IGNORE_CHAPTER_REFERENCE" hidden="1">
            <a:extLst>
              <a:ext uri="{FF2B5EF4-FFF2-40B4-BE49-F238E27FC236}">
                <a16:creationId xmlns:a16="http://schemas.microsoft.com/office/drawing/2014/main" id="{4C952A04-6CCB-455C-887C-1B9A3B0ACD0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E7D6FAC8-11F4-4964-9B25-EE9D1E189D30}"/>
              </a:ext>
            </a:extLst>
          </p:cNvPr>
          <p:cNvSpPr>
            <a:spLocks noGrp="1"/>
          </p:cNvSpPr>
          <p:nvPr>
            <p:ph type="dt" sz="half" idx="13"/>
            <p:custDataLst>
              <p:tags r:id="rId1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B6B82CD2-EA5C-4D03-98C1-175706CF32FC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2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6C4E2716-EC8F-40FC-B4F8-3418FB160B39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7" name="MIO_Placeholder_Mapping" hidden="1">
            <a:extLst>
              <a:ext uri="{FF2B5EF4-FFF2-40B4-BE49-F238E27FC236}">
                <a16:creationId xmlns:a16="http://schemas.microsoft.com/office/drawing/2014/main" id="{162DC542-CA6E-49F2-AE52-133D584ED71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325700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Fi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 White">
            <a:extLst>
              <a:ext uri="{FF2B5EF4-FFF2-40B4-BE49-F238E27FC236}">
                <a16:creationId xmlns:a16="http://schemas.microsoft.com/office/drawing/2014/main" id="{8739B1C3-A1A6-48E1-B2C4-F4CE3C824436}"/>
              </a:ext>
            </a:extLst>
          </p:cNvPr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LOGO PROTECTION" hidden="1">
            <a:extLst>
              <a:ext uri="{FF2B5EF4-FFF2-40B4-BE49-F238E27FC236}">
                <a16:creationId xmlns:a16="http://schemas.microsoft.com/office/drawing/2014/main" id="{8182E335-5A52-4E3C-BCEC-9507D81BA511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2927650" y="1920766"/>
            <a:ext cx="6336702" cy="3088476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grpSp>
        <p:nvGrpSpPr>
          <p:cNvPr id="5" name="LOGO">
            <a:extLst>
              <a:ext uri="{FF2B5EF4-FFF2-40B4-BE49-F238E27FC236}">
                <a16:creationId xmlns:a16="http://schemas.microsoft.com/office/drawing/2014/main" id="{4851AFD6-29AD-BF51-2B17-DE5EA6071D04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566448" y="2755984"/>
            <a:ext cx="3070974" cy="1346031"/>
            <a:chOff x="3859415" y="1750829"/>
            <a:chExt cx="4435730" cy="1944213"/>
          </a:xfrm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4F214AAF-1E9D-4FD3-8516-DCD8CEDA1EA1}"/>
                </a:ext>
              </a:extLst>
            </p:cNvPr>
            <p:cNvSpPr/>
            <p:nvPr userDrawn="1"/>
          </p:nvSpPr>
          <p:spPr>
            <a:xfrm>
              <a:off x="4444793" y="1933900"/>
              <a:ext cx="3429317" cy="1125638"/>
            </a:xfrm>
            <a:custGeom>
              <a:avLst/>
              <a:gdLst>
                <a:gd name="connsiteX0" fmla="*/ 2720290 w 3429317"/>
                <a:gd name="connsiteY0" fmla="*/ 1125639 h 1125638"/>
                <a:gd name="connsiteX1" fmla="*/ 2937850 w 3429317"/>
                <a:gd name="connsiteY1" fmla="*/ 788574 h 1125638"/>
                <a:gd name="connsiteX2" fmla="*/ 2720290 w 3429317"/>
                <a:gd name="connsiteY2" fmla="*/ 459348 h 1125638"/>
                <a:gd name="connsiteX3" fmla="*/ 2505859 w 3429317"/>
                <a:gd name="connsiteY3" fmla="*/ 791710 h 1125638"/>
                <a:gd name="connsiteX4" fmla="*/ 2720290 w 3429317"/>
                <a:gd name="connsiteY4" fmla="*/ 1125639 h 1125638"/>
                <a:gd name="connsiteX5" fmla="*/ 2638900 w 3429317"/>
                <a:gd name="connsiteY5" fmla="*/ 787007 h 1125638"/>
                <a:gd name="connsiteX6" fmla="*/ 2720290 w 3429317"/>
                <a:gd name="connsiteY6" fmla="*/ 572226 h 1125638"/>
                <a:gd name="connsiteX7" fmla="*/ 2804810 w 3429317"/>
                <a:gd name="connsiteY7" fmla="*/ 790142 h 1125638"/>
                <a:gd name="connsiteX8" fmla="*/ 2723420 w 3429317"/>
                <a:gd name="connsiteY8" fmla="*/ 1015897 h 1125638"/>
                <a:gd name="connsiteX9" fmla="*/ 2638900 w 3429317"/>
                <a:gd name="connsiteY9" fmla="*/ 787007 h 1125638"/>
                <a:gd name="connsiteX10" fmla="*/ 2238213 w 3429317"/>
                <a:gd name="connsiteY10" fmla="*/ 1125639 h 1125638"/>
                <a:gd name="connsiteX11" fmla="*/ 2418209 w 3429317"/>
                <a:gd name="connsiteY11" fmla="*/ 1040981 h 1125638"/>
                <a:gd name="connsiteX12" fmla="*/ 2369688 w 3429317"/>
                <a:gd name="connsiteY12" fmla="*/ 950052 h 1125638"/>
                <a:gd name="connsiteX13" fmla="*/ 2249169 w 3429317"/>
                <a:gd name="connsiteY13" fmla="*/ 1012761 h 1125638"/>
                <a:gd name="connsiteX14" fmla="*/ 2161519 w 3429317"/>
                <a:gd name="connsiteY14" fmla="*/ 953187 h 1125638"/>
                <a:gd name="connsiteX15" fmla="*/ 2142737 w 3429317"/>
                <a:gd name="connsiteY15" fmla="*/ 841877 h 1125638"/>
                <a:gd name="connsiteX16" fmla="*/ 2142737 w 3429317"/>
                <a:gd name="connsiteY16" fmla="*/ 829335 h 1125638"/>
                <a:gd name="connsiteX17" fmla="*/ 2424470 w 3429317"/>
                <a:gd name="connsiteY17" fmla="*/ 829335 h 1125638"/>
                <a:gd name="connsiteX18" fmla="*/ 2424470 w 3429317"/>
                <a:gd name="connsiteY18" fmla="*/ 801116 h 1125638"/>
                <a:gd name="connsiteX19" fmla="*/ 2363428 w 3429317"/>
                <a:gd name="connsiteY19" fmla="*/ 526761 h 1125638"/>
                <a:gd name="connsiteX20" fmla="*/ 2222561 w 3429317"/>
                <a:gd name="connsiteY20" fmla="*/ 459348 h 1125638"/>
                <a:gd name="connsiteX21" fmla="*/ 2070738 w 3429317"/>
                <a:gd name="connsiteY21" fmla="*/ 542439 h 1125638"/>
                <a:gd name="connsiteX22" fmla="*/ 2012826 w 3429317"/>
                <a:gd name="connsiteY22" fmla="*/ 791710 h 1125638"/>
                <a:gd name="connsiteX23" fmla="*/ 2238213 w 3429317"/>
                <a:gd name="connsiteY23" fmla="*/ 1125639 h 1125638"/>
                <a:gd name="connsiteX24" fmla="*/ 2224126 w 3429317"/>
                <a:gd name="connsiteY24" fmla="*/ 562819 h 1125638"/>
                <a:gd name="connsiteX25" fmla="*/ 2286734 w 3429317"/>
                <a:gd name="connsiteY25" fmla="*/ 608284 h 1125638"/>
                <a:gd name="connsiteX26" fmla="*/ 2300820 w 3429317"/>
                <a:gd name="connsiteY26" fmla="*/ 725865 h 1125638"/>
                <a:gd name="connsiteX27" fmla="*/ 2142737 w 3429317"/>
                <a:gd name="connsiteY27" fmla="*/ 725865 h 1125638"/>
                <a:gd name="connsiteX28" fmla="*/ 2224126 w 3429317"/>
                <a:gd name="connsiteY28" fmla="*/ 562819 h 1125638"/>
                <a:gd name="connsiteX29" fmla="*/ 3041152 w 3429317"/>
                <a:gd name="connsiteY29" fmla="*/ 1109961 h 1125638"/>
                <a:gd name="connsiteX30" fmla="*/ 3163237 w 3429317"/>
                <a:gd name="connsiteY30" fmla="*/ 1109961 h 1125638"/>
                <a:gd name="connsiteX31" fmla="*/ 3163237 w 3429317"/>
                <a:gd name="connsiteY31" fmla="*/ 639639 h 1125638"/>
                <a:gd name="connsiteX32" fmla="*/ 3252452 w 3429317"/>
                <a:gd name="connsiteY32" fmla="*/ 583200 h 1125638"/>
                <a:gd name="connsiteX33" fmla="*/ 3293147 w 3429317"/>
                <a:gd name="connsiteY33" fmla="*/ 598877 h 1125638"/>
                <a:gd name="connsiteX34" fmla="*/ 3307233 w 3429317"/>
                <a:gd name="connsiteY34" fmla="*/ 681968 h 1125638"/>
                <a:gd name="connsiteX35" fmla="*/ 3307233 w 3429317"/>
                <a:gd name="connsiteY35" fmla="*/ 1109961 h 1125638"/>
                <a:gd name="connsiteX36" fmla="*/ 3429318 w 3429317"/>
                <a:gd name="connsiteY36" fmla="*/ 1109961 h 1125638"/>
                <a:gd name="connsiteX37" fmla="*/ 3429318 w 3429317"/>
                <a:gd name="connsiteY37" fmla="*/ 625529 h 1125638"/>
                <a:gd name="connsiteX38" fmla="*/ 3399579 w 3429317"/>
                <a:gd name="connsiteY38" fmla="*/ 509516 h 1125638"/>
                <a:gd name="connsiteX39" fmla="*/ 3299408 w 3429317"/>
                <a:gd name="connsiteY39" fmla="*/ 464052 h 1125638"/>
                <a:gd name="connsiteX40" fmla="*/ 3153845 w 3429317"/>
                <a:gd name="connsiteY40" fmla="*/ 534600 h 1125638"/>
                <a:gd name="connsiteX41" fmla="*/ 3138194 w 3429317"/>
                <a:gd name="connsiteY41" fmla="*/ 459348 h 1125638"/>
                <a:gd name="connsiteX42" fmla="*/ 3023935 w 3429317"/>
                <a:gd name="connsiteY42" fmla="*/ 489136 h 1125638"/>
                <a:gd name="connsiteX43" fmla="*/ 3039587 w 3429317"/>
                <a:gd name="connsiteY43" fmla="*/ 642774 h 1125638"/>
                <a:gd name="connsiteX44" fmla="*/ 3039587 w 3429317"/>
                <a:gd name="connsiteY44" fmla="*/ 1109961 h 1125638"/>
                <a:gd name="connsiteX45" fmla="*/ 1623096 w 3429317"/>
                <a:gd name="connsiteY45" fmla="*/ 534600 h 1125638"/>
                <a:gd name="connsiteX46" fmla="*/ 1607444 w 3429317"/>
                <a:gd name="connsiteY46" fmla="*/ 459348 h 1125638"/>
                <a:gd name="connsiteX47" fmla="*/ 1493185 w 3429317"/>
                <a:gd name="connsiteY47" fmla="*/ 489136 h 1125638"/>
                <a:gd name="connsiteX48" fmla="*/ 1508837 w 3429317"/>
                <a:gd name="connsiteY48" fmla="*/ 642774 h 1125638"/>
                <a:gd name="connsiteX49" fmla="*/ 1508837 w 3429317"/>
                <a:gd name="connsiteY49" fmla="*/ 1108394 h 1125638"/>
                <a:gd name="connsiteX50" fmla="*/ 1630922 w 3429317"/>
                <a:gd name="connsiteY50" fmla="*/ 1108394 h 1125638"/>
                <a:gd name="connsiteX51" fmla="*/ 1630922 w 3429317"/>
                <a:gd name="connsiteY51" fmla="*/ 638071 h 1125638"/>
                <a:gd name="connsiteX52" fmla="*/ 1720137 w 3429317"/>
                <a:gd name="connsiteY52" fmla="*/ 581632 h 1125638"/>
                <a:gd name="connsiteX53" fmla="*/ 1760832 w 3429317"/>
                <a:gd name="connsiteY53" fmla="*/ 597310 h 1125638"/>
                <a:gd name="connsiteX54" fmla="*/ 1774919 w 3429317"/>
                <a:gd name="connsiteY54" fmla="*/ 680400 h 1125638"/>
                <a:gd name="connsiteX55" fmla="*/ 1774919 w 3429317"/>
                <a:gd name="connsiteY55" fmla="*/ 1108394 h 1125638"/>
                <a:gd name="connsiteX56" fmla="*/ 1897003 w 3429317"/>
                <a:gd name="connsiteY56" fmla="*/ 1108394 h 1125638"/>
                <a:gd name="connsiteX57" fmla="*/ 1897003 w 3429317"/>
                <a:gd name="connsiteY57" fmla="*/ 625529 h 1125638"/>
                <a:gd name="connsiteX58" fmla="*/ 1867264 w 3429317"/>
                <a:gd name="connsiteY58" fmla="*/ 509516 h 1125638"/>
                <a:gd name="connsiteX59" fmla="*/ 1767093 w 3429317"/>
                <a:gd name="connsiteY59" fmla="*/ 464052 h 1125638"/>
                <a:gd name="connsiteX60" fmla="*/ 1623096 w 3429317"/>
                <a:gd name="connsiteY60" fmla="*/ 534600 h 1125638"/>
                <a:gd name="connsiteX61" fmla="*/ 129910 w 3429317"/>
                <a:gd name="connsiteY61" fmla="*/ 260245 h 1125638"/>
                <a:gd name="connsiteX62" fmla="*/ 259820 w 3429317"/>
                <a:gd name="connsiteY62" fmla="*/ 130123 h 1125638"/>
                <a:gd name="connsiteX63" fmla="*/ 129910 w 3429317"/>
                <a:gd name="connsiteY63" fmla="*/ 0 h 1125638"/>
                <a:gd name="connsiteX64" fmla="*/ 0 w 3429317"/>
                <a:gd name="connsiteY64" fmla="*/ 130123 h 1125638"/>
                <a:gd name="connsiteX65" fmla="*/ 129910 w 3429317"/>
                <a:gd name="connsiteY65" fmla="*/ 260245 h 1125638"/>
                <a:gd name="connsiteX66" fmla="*/ 729376 w 3429317"/>
                <a:gd name="connsiteY66" fmla="*/ 1109961 h 1125638"/>
                <a:gd name="connsiteX67" fmla="*/ 729376 w 3429317"/>
                <a:gd name="connsiteY67" fmla="*/ 625529 h 1125638"/>
                <a:gd name="connsiteX68" fmla="*/ 699637 w 3429317"/>
                <a:gd name="connsiteY68" fmla="*/ 509516 h 1125638"/>
                <a:gd name="connsiteX69" fmla="*/ 599465 w 3429317"/>
                <a:gd name="connsiteY69" fmla="*/ 464052 h 1125638"/>
                <a:gd name="connsiteX70" fmla="*/ 453903 w 3429317"/>
                <a:gd name="connsiteY70" fmla="*/ 534600 h 1125638"/>
                <a:gd name="connsiteX71" fmla="*/ 438251 w 3429317"/>
                <a:gd name="connsiteY71" fmla="*/ 459348 h 1125638"/>
                <a:gd name="connsiteX72" fmla="*/ 325558 w 3429317"/>
                <a:gd name="connsiteY72" fmla="*/ 490703 h 1125638"/>
                <a:gd name="connsiteX73" fmla="*/ 341210 w 3429317"/>
                <a:gd name="connsiteY73" fmla="*/ 644342 h 1125638"/>
                <a:gd name="connsiteX74" fmla="*/ 341210 w 3429317"/>
                <a:gd name="connsiteY74" fmla="*/ 1109961 h 1125638"/>
                <a:gd name="connsiteX75" fmla="*/ 463294 w 3429317"/>
                <a:gd name="connsiteY75" fmla="*/ 1109961 h 1125638"/>
                <a:gd name="connsiteX76" fmla="*/ 463294 w 3429317"/>
                <a:gd name="connsiteY76" fmla="*/ 639639 h 1125638"/>
                <a:gd name="connsiteX77" fmla="*/ 552510 w 3429317"/>
                <a:gd name="connsiteY77" fmla="*/ 583200 h 1125638"/>
                <a:gd name="connsiteX78" fmla="*/ 593205 w 3429317"/>
                <a:gd name="connsiteY78" fmla="*/ 598877 h 1125638"/>
                <a:gd name="connsiteX79" fmla="*/ 607291 w 3429317"/>
                <a:gd name="connsiteY79" fmla="*/ 681968 h 1125638"/>
                <a:gd name="connsiteX80" fmla="*/ 607291 w 3429317"/>
                <a:gd name="connsiteY80" fmla="*/ 1109961 h 1125638"/>
                <a:gd name="connsiteX81" fmla="*/ 729376 w 3429317"/>
                <a:gd name="connsiteY81" fmla="*/ 1109961 h 1125638"/>
                <a:gd name="connsiteX82" fmla="*/ 1291277 w 3429317"/>
                <a:gd name="connsiteY82" fmla="*/ 225755 h 1125638"/>
                <a:gd name="connsiteX83" fmla="*/ 1209887 w 3429317"/>
                <a:gd name="connsiteY83" fmla="*/ 307277 h 1125638"/>
                <a:gd name="connsiteX84" fmla="*/ 1289712 w 3429317"/>
                <a:gd name="connsiteY84" fmla="*/ 388800 h 1125638"/>
                <a:gd name="connsiteX85" fmla="*/ 1371101 w 3429317"/>
                <a:gd name="connsiteY85" fmla="*/ 307277 h 1125638"/>
                <a:gd name="connsiteX86" fmla="*/ 1291277 w 3429317"/>
                <a:gd name="connsiteY86" fmla="*/ 225755 h 1125638"/>
                <a:gd name="connsiteX87" fmla="*/ 71998 w 3429317"/>
                <a:gd name="connsiteY87" fmla="*/ 1109961 h 1125638"/>
                <a:gd name="connsiteX88" fmla="*/ 194083 w 3429317"/>
                <a:gd name="connsiteY88" fmla="*/ 1109961 h 1125638"/>
                <a:gd name="connsiteX89" fmla="*/ 194083 w 3429317"/>
                <a:gd name="connsiteY89" fmla="*/ 346471 h 1125638"/>
                <a:gd name="connsiteX90" fmla="*/ 71998 w 3429317"/>
                <a:gd name="connsiteY90" fmla="*/ 362148 h 1125638"/>
                <a:gd name="connsiteX91" fmla="*/ 71998 w 3429317"/>
                <a:gd name="connsiteY91" fmla="*/ 1109961 h 1125638"/>
                <a:gd name="connsiteX92" fmla="*/ 1069021 w 3429317"/>
                <a:gd name="connsiteY92" fmla="*/ 301006 h 1125638"/>
                <a:gd name="connsiteX93" fmla="*/ 1126932 w 3429317"/>
                <a:gd name="connsiteY93" fmla="*/ 319819 h 1125638"/>
                <a:gd name="connsiteX94" fmla="*/ 1161366 w 3429317"/>
                <a:gd name="connsiteY94" fmla="*/ 224187 h 1125638"/>
                <a:gd name="connsiteX95" fmla="*/ 1047108 w 3429317"/>
                <a:gd name="connsiteY95" fmla="*/ 189697 h 1125638"/>
                <a:gd name="connsiteX96" fmla="*/ 953197 w 3429317"/>
                <a:gd name="connsiteY96" fmla="*/ 221052 h 1125638"/>
                <a:gd name="connsiteX97" fmla="*/ 892155 w 3429317"/>
                <a:gd name="connsiteY97" fmla="*/ 390368 h 1125638"/>
                <a:gd name="connsiteX98" fmla="*/ 893720 w 3429317"/>
                <a:gd name="connsiteY98" fmla="*/ 473458 h 1125638"/>
                <a:gd name="connsiteX99" fmla="*/ 851460 w 3429317"/>
                <a:gd name="connsiteY99" fmla="*/ 473458 h 1125638"/>
                <a:gd name="connsiteX100" fmla="*/ 851460 w 3429317"/>
                <a:gd name="connsiteY100" fmla="*/ 581632 h 1125638"/>
                <a:gd name="connsiteX101" fmla="*/ 893720 w 3429317"/>
                <a:gd name="connsiteY101" fmla="*/ 581632 h 1125638"/>
                <a:gd name="connsiteX102" fmla="*/ 893720 w 3429317"/>
                <a:gd name="connsiteY102" fmla="*/ 1108394 h 1125638"/>
                <a:gd name="connsiteX103" fmla="*/ 1018935 w 3429317"/>
                <a:gd name="connsiteY103" fmla="*/ 1108394 h 1125638"/>
                <a:gd name="connsiteX104" fmla="*/ 1018935 w 3429317"/>
                <a:gd name="connsiteY104" fmla="*/ 583200 h 1125638"/>
                <a:gd name="connsiteX105" fmla="*/ 1111281 w 3429317"/>
                <a:gd name="connsiteY105" fmla="*/ 583200 h 1125638"/>
                <a:gd name="connsiteX106" fmla="*/ 1134758 w 3429317"/>
                <a:gd name="connsiteY106" fmla="*/ 475026 h 1125638"/>
                <a:gd name="connsiteX107" fmla="*/ 1020500 w 3429317"/>
                <a:gd name="connsiteY107" fmla="*/ 475026 h 1125638"/>
                <a:gd name="connsiteX108" fmla="*/ 1020500 w 3429317"/>
                <a:gd name="connsiteY108" fmla="*/ 377826 h 1125638"/>
                <a:gd name="connsiteX109" fmla="*/ 1069021 w 3429317"/>
                <a:gd name="connsiteY109" fmla="*/ 301006 h 1125638"/>
                <a:gd name="connsiteX110" fmla="*/ 1228669 w 3429317"/>
                <a:gd name="connsiteY110" fmla="*/ 1109961 h 1125638"/>
                <a:gd name="connsiteX111" fmla="*/ 1352319 w 3429317"/>
                <a:gd name="connsiteY111" fmla="*/ 1109961 h 1125638"/>
                <a:gd name="connsiteX112" fmla="*/ 1352319 w 3429317"/>
                <a:gd name="connsiteY112" fmla="*/ 464052 h 1125638"/>
                <a:gd name="connsiteX113" fmla="*/ 1228669 w 3429317"/>
                <a:gd name="connsiteY113" fmla="*/ 479729 h 1125638"/>
                <a:gd name="connsiteX114" fmla="*/ 1228669 w 3429317"/>
                <a:gd name="connsiteY114" fmla="*/ 1109961 h 1125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</a:cxnLst>
              <a:rect l="l" t="t" r="r" b="b"/>
              <a:pathLst>
                <a:path w="3429317" h="1125638">
                  <a:moveTo>
                    <a:pt x="2720290" y="1125639"/>
                  </a:moveTo>
                  <a:cubicBezTo>
                    <a:pt x="2886199" y="1125639"/>
                    <a:pt x="2937850" y="950052"/>
                    <a:pt x="2937850" y="788574"/>
                  </a:cubicBezTo>
                  <a:cubicBezTo>
                    <a:pt x="2937850" y="572226"/>
                    <a:pt x="2847069" y="459348"/>
                    <a:pt x="2720290" y="459348"/>
                  </a:cubicBezTo>
                  <a:cubicBezTo>
                    <a:pt x="2560641" y="459348"/>
                    <a:pt x="2504294" y="634936"/>
                    <a:pt x="2505859" y="791710"/>
                  </a:cubicBezTo>
                  <a:cubicBezTo>
                    <a:pt x="2507425" y="946916"/>
                    <a:pt x="2551250" y="1125639"/>
                    <a:pt x="2720290" y="1125639"/>
                  </a:cubicBezTo>
                  <a:close/>
                  <a:moveTo>
                    <a:pt x="2638900" y="787007"/>
                  </a:moveTo>
                  <a:cubicBezTo>
                    <a:pt x="2638900" y="722729"/>
                    <a:pt x="2638900" y="572226"/>
                    <a:pt x="2720290" y="572226"/>
                  </a:cubicBezTo>
                  <a:cubicBezTo>
                    <a:pt x="2807940" y="572226"/>
                    <a:pt x="2804810" y="721161"/>
                    <a:pt x="2804810" y="790142"/>
                  </a:cubicBezTo>
                  <a:cubicBezTo>
                    <a:pt x="2804810" y="855987"/>
                    <a:pt x="2804810" y="1015897"/>
                    <a:pt x="2723420" y="1015897"/>
                  </a:cubicBezTo>
                  <a:cubicBezTo>
                    <a:pt x="2635770" y="1014329"/>
                    <a:pt x="2638900" y="854419"/>
                    <a:pt x="2638900" y="787007"/>
                  </a:cubicBezTo>
                  <a:close/>
                  <a:moveTo>
                    <a:pt x="2238213" y="1125639"/>
                  </a:moveTo>
                  <a:cubicBezTo>
                    <a:pt x="2305516" y="1125639"/>
                    <a:pt x="2363428" y="1098987"/>
                    <a:pt x="2418209" y="1040981"/>
                  </a:cubicBezTo>
                  <a:lnTo>
                    <a:pt x="2369688" y="950052"/>
                  </a:lnTo>
                  <a:cubicBezTo>
                    <a:pt x="2332124" y="990813"/>
                    <a:pt x="2294560" y="1012761"/>
                    <a:pt x="2249169" y="1012761"/>
                  </a:cubicBezTo>
                  <a:cubicBezTo>
                    <a:pt x="2211605" y="1012761"/>
                    <a:pt x="2180301" y="990813"/>
                    <a:pt x="2161519" y="953187"/>
                  </a:cubicBezTo>
                  <a:cubicBezTo>
                    <a:pt x="2145867" y="920265"/>
                    <a:pt x="2142737" y="882639"/>
                    <a:pt x="2142737" y="841877"/>
                  </a:cubicBezTo>
                  <a:lnTo>
                    <a:pt x="2142737" y="829335"/>
                  </a:lnTo>
                  <a:lnTo>
                    <a:pt x="2424470" y="829335"/>
                  </a:lnTo>
                  <a:lnTo>
                    <a:pt x="2424470" y="801116"/>
                  </a:lnTo>
                  <a:cubicBezTo>
                    <a:pt x="2424470" y="661587"/>
                    <a:pt x="2407253" y="584768"/>
                    <a:pt x="2363428" y="526761"/>
                  </a:cubicBezTo>
                  <a:cubicBezTo>
                    <a:pt x="2330559" y="482865"/>
                    <a:pt x="2282038" y="459348"/>
                    <a:pt x="2222561" y="459348"/>
                  </a:cubicBezTo>
                  <a:cubicBezTo>
                    <a:pt x="2159954" y="459348"/>
                    <a:pt x="2108303" y="487568"/>
                    <a:pt x="2070738" y="542439"/>
                  </a:cubicBezTo>
                  <a:cubicBezTo>
                    <a:pt x="2030044" y="602013"/>
                    <a:pt x="2012826" y="681968"/>
                    <a:pt x="2012826" y="791710"/>
                  </a:cubicBezTo>
                  <a:cubicBezTo>
                    <a:pt x="2011261" y="1001787"/>
                    <a:pt x="2094216" y="1125639"/>
                    <a:pt x="2238213" y="1125639"/>
                  </a:cubicBezTo>
                  <a:close/>
                  <a:moveTo>
                    <a:pt x="2224126" y="562819"/>
                  </a:moveTo>
                  <a:cubicBezTo>
                    <a:pt x="2255430" y="562819"/>
                    <a:pt x="2274212" y="580065"/>
                    <a:pt x="2286734" y="608284"/>
                  </a:cubicBezTo>
                  <a:cubicBezTo>
                    <a:pt x="2296125" y="633368"/>
                    <a:pt x="2300820" y="675697"/>
                    <a:pt x="2300820" y="725865"/>
                  </a:cubicBezTo>
                  <a:lnTo>
                    <a:pt x="2142737" y="725865"/>
                  </a:lnTo>
                  <a:cubicBezTo>
                    <a:pt x="2144302" y="614555"/>
                    <a:pt x="2167780" y="562819"/>
                    <a:pt x="2224126" y="562819"/>
                  </a:cubicBezTo>
                  <a:close/>
                  <a:moveTo>
                    <a:pt x="3041152" y="1109961"/>
                  </a:moveTo>
                  <a:lnTo>
                    <a:pt x="3163237" y="1109961"/>
                  </a:lnTo>
                  <a:lnTo>
                    <a:pt x="3163237" y="639639"/>
                  </a:lnTo>
                  <a:cubicBezTo>
                    <a:pt x="3192975" y="603581"/>
                    <a:pt x="3227409" y="583200"/>
                    <a:pt x="3252452" y="583200"/>
                  </a:cubicBezTo>
                  <a:cubicBezTo>
                    <a:pt x="3268104" y="583200"/>
                    <a:pt x="3283756" y="586335"/>
                    <a:pt x="3293147" y="598877"/>
                  </a:cubicBezTo>
                  <a:cubicBezTo>
                    <a:pt x="3302538" y="612987"/>
                    <a:pt x="3307233" y="633368"/>
                    <a:pt x="3307233" y="681968"/>
                  </a:cubicBezTo>
                  <a:lnTo>
                    <a:pt x="3307233" y="1109961"/>
                  </a:lnTo>
                  <a:lnTo>
                    <a:pt x="3429318" y="1109961"/>
                  </a:lnTo>
                  <a:lnTo>
                    <a:pt x="3429318" y="625529"/>
                  </a:lnTo>
                  <a:cubicBezTo>
                    <a:pt x="3429318" y="583200"/>
                    <a:pt x="3424622" y="540871"/>
                    <a:pt x="3399579" y="509516"/>
                  </a:cubicBezTo>
                  <a:cubicBezTo>
                    <a:pt x="3377667" y="481297"/>
                    <a:pt x="3343233" y="464052"/>
                    <a:pt x="3299408" y="464052"/>
                  </a:cubicBezTo>
                  <a:cubicBezTo>
                    <a:pt x="3243061" y="464052"/>
                    <a:pt x="3185149" y="496974"/>
                    <a:pt x="3153845" y="534600"/>
                  </a:cubicBezTo>
                  <a:cubicBezTo>
                    <a:pt x="3152280" y="501677"/>
                    <a:pt x="3141324" y="470323"/>
                    <a:pt x="3138194" y="459348"/>
                  </a:cubicBezTo>
                  <a:lnTo>
                    <a:pt x="3023935" y="489136"/>
                  </a:lnTo>
                  <a:cubicBezTo>
                    <a:pt x="3030196" y="523626"/>
                    <a:pt x="3039587" y="565955"/>
                    <a:pt x="3039587" y="642774"/>
                  </a:cubicBezTo>
                  <a:lnTo>
                    <a:pt x="3039587" y="1109961"/>
                  </a:lnTo>
                  <a:close/>
                  <a:moveTo>
                    <a:pt x="1623096" y="534600"/>
                  </a:moveTo>
                  <a:cubicBezTo>
                    <a:pt x="1621530" y="501677"/>
                    <a:pt x="1610574" y="470323"/>
                    <a:pt x="1607444" y="459348"/>
                  </a:cubicBezTo>
                  <a:lnTo>
                    <a:pt x="1493185" y="489136"/>
                  </a:lnTo>
                  <a:cubicBezTo>
                    <a:pt x="1499446" y="523626"/>
                    <a:pt x="1508837" y="565955"/>
                    <a:pt x="1508837" y="642774"/>
                  </a:cubicBezTo>
                  <a:lnTo>
                    <a:pt x="1508837" y="1108394"/>
                  </a:lnTo>
                  <a:lnTo>
                    <a:pt x="1630922" y="1108394"/>
                  </a:lnTo>
                  <a:lnTo>
                    <a:pt x="1630922" y="638071"/>
                  </a:lnTo>
                  <a:cubicBezTo>
                    <a:pt x="1660660" y="602013"/>
                    <a:pt x="1695094" y="581632"/>
                    <a:pt x="1720137" y="581632"/>
                  </a:cubicBezTo>
                  <a:cubicBezTo>
                    <a:pt x="1735789" y="581632"/>
                    <a:pt x="1751441" y="584768"/>
                    <a:pt x="1760832" y="597310"/>
                  </a:cubicBezTo>
                  <a:cubicBezTo>
                    <a:pt x="1770223" y="611419"/>
                    <a:pt x="1774919" y="631800"/>
                    <a:pt x="1774919" y="680400"/>
                  </a:cubicBezTo>
                  <a:lnTo>
                    <a:pt x="1774919" y="1108394"/>
                  </a:lnTo>
                  <a:lnTo>
                    <a:pt x="1897003" y="1108394"/>
                  </a:lnTo>
                  <a:lnTo>
                    <a:pt x="1897003" y="625529"/>
                  </a:lnTo>
                  <a:cubicBezTo>
                    <a:pt x="1897003" y="583200"/>
                    <a:pt x="1892307" y="540871"/>
                    <a:pt x="1867264" y="509516"/>
                  </a:cubicBezTo>
                  <a:cubicBezTo>
                    <a:pt x="1845352" y="481297"/>
                    <a:pt x="1810918" y="464052"/>
                    <a:pt x="1767093" y="464052"/>
                  </a:cubicBezTo>
                  <a:cubicBezTo>
                    <a:pt x="1712311" y="464052"/>
                    <a:pt x="1654399" y="496974"/>
                    <a:pt x="1623096" y="534600"/>
                  </a:cubicBezTo>
                  <a:close/>
                  <a:moveTo>
                    <a:pt x="129910" y="260245"/>
                  </a:moveTo>
                  <a:cubicBezTo>
                    <a:pt x="201909" y="260245"/>
                    <a:pt x="259820" y="202239"/>
                    <a:pt x="259820" y="130123"/>
                  </a:cubicBezTo>
                  <a:cubicBezTo>
                    <a:pt x="259820" y="58006"/>
                    <a:pt x="201909" y="0"/>
                    <a:pt x="129910" y="0"/>
                  </a:cubicBezTo>
                  <a:cubicBezTo>
                    <a:pt x="57912" y="0"/>
                    <a:pt x="0" y="58006"/>
                    <a:pt x="0" y="130123"/>
                  </a:cubicBezTo>
                  <a:cubicBezTo>
                    <a:pt x="0" y="202239"/>
                    <a:pt x="57912" y="260245"/>
                    <a:pt x="129910" y="260245"/>
                  </a:cubicBezTo>
                  <a:close/>
                  <a:moveTo>
                    <a:pt x="729376" y="1109961"/>
                  </a:moveTo>
                  <a:lnTo>
                    <a:pt x="729376" y="625529"/>
                  </a:lnTo>
                  <a:cubicBezTo>
                    <a:pt x="729376" y="583200"/>
                    <a:pt x="724680" y="540871"/>
                    <a:pt x="699637" y="509516"/>
                  </a:cubicBezTo>
                  <a:cubicBezTo>
                    <a:pt x="677725" y="481297"/>
                    <a:pt x="643291" y="464052"/>
                    <a:pt x="599465" y="464052"/>
                  </a:cubicBezTo>
                  <a:cubicBezTo>
                    <a:pt x="543119" y="464052"/>
                    <a:pt x="485207" y="496974"/>
                    <a:pt x="453903" y="534600"/>
                  </a:cubicBezTo>
                  <a:cubicBezTo>
                    <a:pt x="452338" y="501677"/>
                    <a:pt x="441382" y="470323"/>
                    <a:pt x="438251" y="459348"/>
                  </a:cubicBezTo>
                  <a:lnTo>
                    <a:pt x="325558" y="490703"/>
                  </a:lnTo>
                  <a:cubicBezTo>
                    <a:pt x="331819" y="525194"/>
                    <a:pt x="341210" y="567523"/>
                    <a:pt x="341210" y="644342"/>
                  </a:cubicBezTo>
                  <a:lnTo>
                    <a:pt x="341210" y="1109961"/>
                  </a:lnTo>
                  <a:lnTo>
                    <a:pt x="463294" y="1109961"/>
                  </a:lnTo>
                  <a:lnTo>
                    <a:pt x="463294" y="639639"/>
                  </a:lnTo>
                  <a:cubicBezTo>
                    <a:pt x="493033" y="603581"/>
                    <a:pt x="527467" y="583200"/>
                    <a:pt x="552510" y="583200"/>
                  </a:cubicBezTo>
                  <a:cubicBezTo>
                    <a:pt x="568162" y="583200"/>
                    <a:pt x="583814" y="586335"/>
                    <a:pt x="593205" y="598877"/>
                  </a:cubicBezTo>
                  <a:cubicBezTo>
                    <a:pt x="602596" y="612987"/>
                    <a:pt x="607291" y="633368"/>
                    <a:pt x="607291" y="681968"/>
                  </a:cubicBezTo>
                  <a:lnTo>
                    <a:pt x="607291" y="1109961"/>
                  </a:lnTo>
                  <a:lnTo>
                    <a:pt x="729376" y="1109961"/>
                  </a:lnTo>
                  <a:close/>
                  <a:moveTo>
                    <a:pt x="1291277" y="225755"/>
                  </a:moveTo>
                  <a:cubicBezTo>
                    <a:pt x="1245886" y="225755"/>
                    <a:pt x="1209887" y="261813"/>
                    <a:pt x="1209887" y="307277"/>
                  </a:cubicBezTo>
                  <a:cubicBezTo>
                    <a:pt x="1209887" y="352742"/>
                    <a:pt x="1245886" y="388800"/>
                    <a:pt x="1289712" y="388800"/>
                  </a:cubicBezTo>
                  <a:cubicBezTo>
                    <a:pt x="1335102" y="388800"/>
                    <a:pt x="1371101" y="352742"/>
                    <a:pt x="1371101" y="307277"/>
                  </a:cubicBezTo>
                  <a:cubicBezTo>
                    <a:pt x="1371101" y="261813"/>
                    <a:pt x="1335102" y="225755"/>
                    <a:pt x="1291277" y="225755"/>
                  </a:cubicBezTo>
                  <a:close/>
                  <a:moveTo>
                    <a:pt x="71998" y="1109961"/>
                  </a:moveTo>
                  <a:lnTo>
                    <a:pt x="194083" y="1109961"/>
                  </a:lnTo>
                  <a:lnTo>
                    <a:pt x="194083" y="346471"/>
                  </a:lnTo>
                  <a:lnTo>
                    <a:pt x="71998" y="362148"/>
                  </a:lnTo>
                  <a:lnTo>
                    <a:pt x="71998" y="1109961"/>
                  </a:lnTo>
                  <a:close/>
                  <a:moveTo>
                    <a:pt x="1069021" y="301006"/>
                  </a:moveTo>
                  <a:cubicBezTo>
                    <a:pt x="1090933" y="301006"/>
                    <a:pt x="1112846" y="308845"/>
                    <a:pt x="1126932" y="319819"/>
                  </a:cubicBezTo>
                  <a:lnTo>
                    <a:pt x="1161366" y="224187"/>
                  </a:lnTo>
                  <a:cubicBezTo>
                    <a:pt x="1128498" y="200671"/>
                    <a:pt x="1092498" y="189697"/>
                    <a:pt x="1047108" y="189697"/>
                  </a:cubicBezTo>
                  <a:cubicBezTo>
                    <a:pt x="1015804" y="189697"/>
                    <a:pt x="982935" y="197535"/>
                    <a:pt x="953197" y="221052"/>
                  </a:cubicBezTo>
                  <a:cubicBezTo>
                    <a:pt x="923458" y="246135"/>
                    <a:pt x="892155" y="296303"/>
                    <a:pt x="892155" y="390368"/>
                  </a:cubicBezTo>
                  <a:cubicBezTo>
                    <a:pt x="892155" y="431129"/>
                    <a:pt x="893720" y="473458"/>
                    <a:pt x="893720" y="473458"/>
                  </a:cubicBezTo>
                  <a:lnTo>
                    <a:pt x="851460" y="473458"/>
                  </a:lnTo>
                  <a:lnTo>
                    <a:pt x="851460" y="581632"/>
                  </a:lnTo>
                  <a:lnTo>
                    <a:pt x="893720" y="581632"/>
                  </a:lnTo>
                  <a:lnTo>
                    <a:pt x="893720" y="1108394"/>
                  </a:lnTo>
                  <a:lnTo>
                    <a:pt x="1018935" y="1108394"/>
                  </a:lnTo>
                  <a:lnTo>
                    <a:pt x="1018935" y="583200"/>
                  </a:lnTo>
                  <a:lnTo>
                    <a:pt x="1111281" y="583200"/>
                  </a:lnTo>
                  <a:lnTo>
                    <a:pt x="1134758" y="475026"/>
                  </a:lnTo>
                  <a:lnTo>
                    <a:pt x="1020500" y="475026"/>
                  </a:lnTo>
                  <a:lnTo>
                    <a:pt x="1020500" y="377826"/>
                  </a:lnTo>
                  <a:cubicBezTo>
                    <a:pt x="1020500" y="330794"/>
                    <a:pt x="1039282" y="301006"/>
                    <a:pt x="1069021" y="301006"/>
                  </a:cubicBezTo>
                  <a:close/>
                  <a:moveTo>
                    <a:pt x="1228669" y="1109961"/>
                  </a:moveTo>
                  <a:lnTo>
                    <a:pt x="1352319" y="1109961"/>
                  </a:lnTo>
                  <a:lnTo>
                    <a:pt x="1352319" y="464052"/>
                  </a:lnTo>
                  <a:lnTo>
                    <a:pt x="1228669" y="479729"/>
                  </a:lnTo>
                  <a:lnTo>
                    <a:pt x="1228669" y="1109961"/>
                  </a:lnTo>
                  <a:close/>
                </a:path>
              </a:pathLst>
            </a:custGeom>
            <a:solidFill>
              <a:srgbClr val="005DA9"/>
            </a:solidFill>
            <a:ln w="156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baseline="0" noProof="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2F60EEAB-08EF-4699-AAD1-3E74796DF911}"/>
                </a:ext>
              </a:extLst>
            </p:cNvPr>
            <p:cNvSpPr/>
            <p:nvPr userDrawn="1"/>
          </p:nvSpPr>
          <p:spPr>
            <a:xfrm>
              <a:off x="3859415" y="1750829"/>
              <a:ext cx="4435730" cy="1944213"/>
            </a:xfrm>
            <a:custGeom>
              <a:avLst/>
              <a:gdLst>
                <a:gd name="connsiteX0" fmla="*/ 3764267 w 4435730"/>
                <a:gd name="connsiteY0" fmla="*/ 1637936 h 1944213"/>
                <a:gd name="connsiteX1" fmla="*/ 2357167 w 4435730"/>
                <a:gd name="connsiteY1" fmla="*/ 1813523 h 1944213"/>
                <a:gd name="connsiteX2" fmla="*/ 248864 w 4435730"/>
                <a:gd name="connsiteY2" fmla="*/ 962240 h 1944213"/>
                <a:gd name="connsiteX3" fmla="*/ 608857 w 4435730"/>
                <a:gd name="connsiteY3" fmla="*/ 452723 h 1944213"/>
                <a:gd name="connsiteX4" fmla="*/ 538423 w 4435730"/>
                <a:gd name="connsiteY4" fmla="*/ 314762 h 1944213"/>
                <a:gd name="connsiteX5" fmla="*/ 0 w 4435730"/>
                <a:gd name="connsiteY5" fmla="*/ 976349 h 1944213"/>
                <a:gd name="connsiteX6" fmla="*/ 2369688 w 4435730"/>
                <a:gd name="connsiteY6" fmla="*/ 1943646 h 1944213"/>
                <a:gd name="connsiteX7" fmla="*/ 3646878 w 4435730"/>
                <a:gd name="connsiteY7" fmla="*/ 1744543 h 1944213"/>
                <a:gd name="connsiteX8" fmla="*/ 4435731 w 4435730"/>
                <a:gd name="connsiteY8" fmla="*/ 1302440 h 1944213"/>
                <a:gd name="connsiteX9" fmla="*/ 3764267 w 4435730"/>
                <a:gd name="connsiteY9" fmla="*/ 1637936 h 1944213"/>
                <a:gd name="connsiteX10" fmla="*/ 1136323 w 4435730"/>
                <a:gd name="connsiteY10" fmla="*/ 214427 h 1944213"/>
                <a:gd name="connsiteX11" fmla="*/ 1336667 w 4435730"/>
                <a:gd name="connsiteY11" fmla="*/ 150149 h 1944213"/>
                <a:gd name="connsiteX12" fmla="*/ 2371254 w 4435730"/>
                <a:gd name="connsiteY12" fmla="*/ 9052 h 1944213"/>
                <a:gd name="connsiteX13" fmla="*/ 1311624 w 4435730"/>
                <a:gd name="connsiteY13" fmla="*/ 65491 h 1944213"/>
                <a:gd name="connsiteX14" fmla="*/ 1097194 w 4435730"/>
                <a:gd name="connsiteY14" fmla="*/ 110956 h 1944213"/>
                <a:gd name="connsiteX15" fmla="*/ 1011109 w 4435730"/>
                <a:gd name="connsiteY15" fmla="*/ 134472 h 1944213"/>
                <a:gd name="connsiteX16" fmla="*/ 932850 w 4435730"/>
                <a:gd name="connsiteY16" fmla="*/ 156420 h 1944213"/>
                <a:gd name="connsiteX17" fmla="*/ 838939 w 4435730"/>
                <a:gd name="connsiteY17" fmla="*/ 187775 h 1944213"/>
                <a:gd name="connsiteX18" fmla="*/ 890590 w 4435730"/>
                <a:gd name="connsiteY18" fmla="*/ 306923 h 1944213"/>
                <a:gd name="connsiteX19" fmla="*/ 1136323 w 4435730"/>
                <a:gd name="connsiteY19" fmla="*/ 214427 h 19442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435730" h="1944213">
                  <a:moveTo>
                    <a:pt x="3764267" y="1637936"/>
                  </a:moveTo>
                  <a:cubicBezTo>
                    <a:pt x="3351059" y="1760220"/>
                    <a:pt x="2848635" y="1813523"/>
                    <a:pt x="2357167" y="1813523"/>
                  </a:cubicBezTo>
                  <a:cubicBezTo>
                    <a:pt x="1109715" y="1813523"/>
                    <a:pt x="305211" y="1446672"/>
                    <a:pt x="248864" y="962240"/>
                  </a:cubicBezTo>
                  <a:cubicBezTo>
                    <a:pt x="228517" y="780381"/>
                    <a:pt x="370949" y="603227"/>
                    <a:pt x="608857" y="452723"/>
                  </a:cubicBezTo>
                  <a:cubicBezTo>
                    <a:pt x="566597" y="421369"/>
                    <a:pt x="539988" y="371201"/>
                    <a:pt x="538423" y="314762"/>
                  </a:cubicBezTo>
                  <a:cubicBezTo>
                    <a:pt x="194083" y="496620"/>
                    <a:pt x="0" y="734917"/>
                    <a:pt x="0" y="976349"/>
                  </a:cubicBezTo>
                  <a:cubicBezTo>
                    <a:pt x="0" y="1510949"/>
                    <a:pt x="953197" y="1962459"/>
                    <a:pt x="2369688" y="1943646"/>
                  </a:cubicBezTo>
                  <a:cubicBezTo>
                    <a:pt x="2862721" y="1937375"/>
                    <a:pt x="3274365" y="1866827"/>
                    <a:pt x="3646878" y="1744543"/>
                  </a:cubicBezTo>
                  <a:cubicBezTo>
                    <a:pt x="4089825" y="1600311"/>
                    <a:pt x="4368428" y="1393369"/>
                    <a:pt x="4435731" y="1302440"/>
                  </a:cubicBezTo>
                  <a:cubicBezTo>
                    <a:pt x="4355907" y="1374556"/>
                    <a:pt x="4166520" y="1518788"/>
                    <a:pt x="3764267" y="1637936"/>
                  </a:cubicBezTo>
                  <a:close/>
                  <a:moveTo>
                    <a:pt x="1136323" y="214427"/>
                  </a:moveTo>
                  <a:cubicBezTo>
                    <a:pt x="1219278" y="186207"/>
                    <a:pt x="1336667" y="150149"/>
                    <a:pt x="1336667" y="150149"/>
                  </a:cubicBezTo>
                  <a:cubicBezTo>
                    <a:pt x="1666921" y="59220"/>
                    <a:pt x="2031609" y="5917"/>
                    <a:pt x="2371254" y="9052"/>
                  </a:cubicBezTo>
                  <a:cubicBezTo>
                    <a:pt x="1979958" y="-14464"/>
                    <a:pt x="1623096" y="9052"/>
                    <a:pt x="1311624" y="65491"/>
                  </a:cubicBezTo>
                  <a:cubicBezTo>
                    <a:pt x="1311624" y="65491"/>
                    <a:pt x="1208322" y="82736"/>
                    <a:pt x="1097194" y="110956"/>
                  </a:cubicBezTo>
                  <a:cubicBezTo>
                    <a:pt x="1097194" y="110956"/>
                    <a:pt x="1043978" y="125065"/>
                    <a:pt x="1011109" y="134472"/>
                  </a:cubicBezTo>
                  <a:cubicBezTo>
                    <a:pt x="978240" y="143878"/>
                    <a:pt x="932850" y="156420"/>
                    <a:pt x="932850" y="156420"/>
                  </a:cubicBezTo>
                  <a:cubicBezTo>
                    <a:pt x="901546" y="165827"/>
                    <a:pt x="870242" y="176801"/>
                    <a:pt x="838939" y="187775"/>
                  </a:cubicBezTo>
                  <a:cubicBezTo>
                    <a:pt x="870242" y="219130"/>
                    <a:pt x="889024" y="259891"/>
                    <a:pt x="890590" y="306923"/>
                  </a:cubicBezTo>
                  <a:cubicBezTo>
                    <a:pt x="945371" y="281840"/>
                    <a:pt x="1050238" y="244214"/>
                    <a:pt x="1136323" y="214427"/>
                  </a:cubicBezTo>
                  <a:close/>
                </a:path>
              </a:pathLst>
            </a:custGeom>
            <a:solidFill>
              <a:srgbClr val="E30034"/>
            </a:solidFill>
            <a:ln w="156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baseline="0" noProof="0"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6" name="MIO_AGENDA_LAST_SLIDE" hidden="1">
            <a:extLst>
              <a:ext uri="{FF2B5EF4-FFF2-40B4-BE49-F238E27FC236}">
                <a16:creationId xmlns:a16="http://schemas.microsoft.com/office/drawing/2014/main" id="{45591D6F-6D52-44E5-B3AA-2575CCD45201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2" name="MIO_AGENDA_IGNORE_NAVIGATION" hidden="1">
            <a:extLst>
              <a:ext uri="{FF2B5EF4-FFF2-40B4-BE49-F238E27FC236}">
                <a16:creationId xmlns:a16="http://schemas.microsoft.com/office/drawing/2014/main" id="{C7038F66-C11F-4566-ADAF-A099AF957551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3" name="MIO_AGENDA_IGNORE_CHAPTER_REFERENCE" hidden="1">
            <a:extLst>
              <a:ext uri="{FF2B5EF4-FFF2-40B4-BE49-F238E27FC236}">
                <a16:creationId xmlns:a16="http://schemas.microsoft.com/office/drawing/2014/main" id="{E0318986-8EA2-446A-AFF2-E8441C3AF8A6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8" name="Date Placeholder 7" hidden="1">
            <a:extLst>
              <a:ext uri="{FF2B5EF4-FFF2-40B4-BE49-F238E27FC236}">
                <a16:creationId xmlns:a16="http://schemas.microsoft.com/office/drawing/2014/main" id="{087EFA22-3F6E-4210-A8FC-0864CD1DE4EF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BDF262C8-30D5-474A-BD81-CA14ACCE51B5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3F1C5DF9-A781-4661-8C3B-816A398ADFDD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2" name="MIO_Placeholder_Mapping" hidden="1">
            <a:extLst>
              <a:ext uri="{FF2B5EF4-FFF2-40B4-BE49-F238E27FC236}">
                <a16:creationId xmlns:a16="http://schemas.microsoft.com/office/drawing/2014/main" id="{77B07280-C452-41A8-A8A7-B816EB9C3C9E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7727015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501C1CF0-6452-4D4E-9BC7-65EADBD5EEC4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Background White">
            <a:extLst>
              <a:ext uri="{FF2B5EF4-FFF2-40B4-BE49-F238E27FC236}">
                <a16:creationId xmlns:a16="http://schemas.microsoft.com/office/drawing/2014/main" id="{FBA286CB-2DB7-49EA-ABB9-E63BB6315EDB}"/>
              </a:ext>
            </a:extLst>
          </p:cNvPr>
          <p:cNvSpPr/>
          <p:nvPr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7" name="Crystal Picture Placeholder">
            <a:extLst>
              <a:ext uri="{FF2B5EF4-FFF2-40B4-BE49-F238E27FC236}">
                <a16:creationId xmlns:a16="http://schemas.microsoft.com/office/drawing/2014/main" id="{2B034C47-A659-3457-E1A7-79A7F521356A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-1" y="0"/>
            <a:ext cx="5205158" cy="6858000"/>
          </a:xfrm>
          <a:custGeom>
            <a:avLst/>
            <a:gdLst>
              <a:gd name="connsiteX0" fmla="*/ 0 w 5205158"/>
              <a:gd name="connsiteY0" fmla="*/ 0 h 6858000"/>
              <a:gd name="connsiteX1" fmla="*/ 4377139 w 5205158"/>
              <a:gd name="connsiteY1" fmla="*/ 0 h 6858000"/>
              <a:gd name="connsiteX2" fmla="*/ 5205158 w 5205158"/>
              <a:gd name="connsiteY2" fmla="*/ 1713978 h 6858000"/>
              <a:gd name="connsiteX3" fmla="*/ 4370092 w 5205158"/>
              <a:gd name="connsiteY3" fmla="*/ 6858000 h 6858000"/>
              <a:gd name="connsiteX4" fmla="*/ 0 w 5205158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05158" h="6858000">
                <a:moveTo>
                  <a:pt x="0" y="0"/>
                </a:moveTo>
                <a:lnTo>
                  <a:pt x="4377139" y="0"/>
                </a:lnTo>
                <a:lnTo>
                  <a:pt x="5205158" y="1713978"/>
                </a:lnTo>
                <a:lnTo>
                  <a:pt x="4370092" y="6858000"/>
                </a:lnTo>
                <a:lnTo>
                  <a:pt x="0" y="6858000"/>
                </a:lnTo>
                <a:close/>
              </a:path>
            </a:pathLst>
          </a:custGeom>
          <a:blipFill>
            <a:blip r:embed="rId11"/>
            <a:stretch>
              <a:fillRect/>
            </a:stretch>
          </a:blipFill>
        </p:spPr>
        <p:txBody>
          <a:bodyPr wrap="square" tIns="2700000">
            <a:noAutofit/>
          </a:bodyPr>
          <a:lstStyle>
            <a:lvl1pPr marL="0" indent="0" algn="ctr" rtl="0">
              <a:buNone/>
              <a:defRPr/>
            </a:lvl1pPr>
          </a:lstStyle>
          <a:p>
            <a:endParaRPr lang="de-DE"/>
          </a:p>
        </p:txBody>
      </p:sp>
      <p:sp>
        <p:nvSpPr>
          <p:cNvPr id="35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5808608" y="3790101"/>
            <a:ext cx="576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18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Author (department)</a:t>
            </a:r>
            <a:br>
              <a:rPr lang="en-US" noProof="0" dirty="0"/>
            </a:br>
            <a:r>
              <a:rPr lang="en-US" noProof="0" dirty="0"/>
              <a:t>Date</a:t>
            </a: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0926292C-4FD6-404F-8149-3EB0B4DF87B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5808608" y="1757203"/>
            <a:ext cx="5760000" cy="1672899"/>
          </a:xfrm>
        </p:spPr>
        <p:txBody>
          <a:bodyPr bIns="0" anchor="b">
            <a:normAutofit/>
          </a:bodyPr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Please type in title</a:t>
            </a:r>
          </a:p>
        </p:txBody>
      </p:sp>
      <p:sp>
        <p:nvSpPr>
          <p:cNvPr id="8" name="empower_classification_attention_placeholder" hidden="1">
            <a:extLst>
              <a:ext uri="{FF2B5EF4-FFF2-40B4-BE49-F238E27FC236}">
                <a16:creationId xmlns:a16="http://schemas.microsoft.com/office/drawing/2014/main" id="{275E4ACD-2699-4EB4-B72E-2EBE63C205D6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808608" y="6501600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9" name="empower_classification_placeholder">
            <a:extLst>
              <a:ext uri="{FF2B5EF4-FFF2-40B4-BE49-F238E27FC236}">
                <a16:creationId xmlns:a16="http://schemas.microsoft.com/office/drawing/2014/main" id="{2E1A11AC-1395-4E21-827C-BF03F1350E73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5808608" y="6501600"/>
            <a:ext cx="13680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8A1DAB4F-0FA1-4116-AD11-2FAD7B4CA74A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8328521" y="6501600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empower_draft_placeholder" hidden="1">
            <a:extLst>
              <a:ext uri="{FF2B5EF4-FFF2-40B4-BE49-F238E27FC236}">
                <a16:creationId xmlns:a16="http://schemas.microsoft.com/office/drawing/2014/main" id="{6199DA7C-0CA0-4D66-B211-C7E7EAED824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7464565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12" name="Logo">
            <a:extLst>
              <a:ext uri="{FF2B5EF4-FFF2-40B4-BE49-F238E27FC236}">
                <a16:creationId xmlns:a16="http://schemas.microsoft.com/office/drawing/2014/main" id="{ADDB2795-DB3B-40A3-B89C-858C63FC06F1}"/>
              </a:ext>
            </a:extLst>
          </p:cNvPr>
          <p:cNvGrpSpPr/>
          <p:nvPr/>
        </p:nvGrpSpPr>
        <p:grpSpPr>
          <a:xfrm>
            <a:off x="9738355" y="5453288"/>
            <a:ext cx="1830253" cy="800431"/>
            <a:chOff x="9738355" y="5453288"/>
            <a:chExt cx="1830253" cy="800431"/>
          </a:xfrm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B0E8F659-6D17-4A54-BF14-8E3536EAD1C1}"/>
                </a:ext>
              </a:extLst>
            </p:cNvPr>
            <p:cNvSpPr/>
            <p:nvPr/>
          </p:nvSpPr>
          <p:spPr>
            <a:xfrm>
              <a:off x="9979381" y="5528812"/>
              <a:ext cx="1412001" cy="463475"/>
            </a:xfrm>
            <a:custGeom>
              <a:avLst/>
              <a:gdLst>
                <a:gd name="connsiteX0" fmla="*/ 1120063 w 1412001"/>
                <a:gd name="connsiteY0" fmla="*/ 463475 h 463475"/>
                <a:gd name="connsiteX1" fmla="*/ 1209643 w 1412001"/>
                <a:gd name="connsiteY1" fmla="*/ 324691 h 463475"/>
                <a:gd name="connsiteX2" fmla="*/ 1120063 w 1412001"/>
                <a:gd name="connsiteY2" fmla="*/ 189134 h 463475"/>
                <a:gd name="connsiteX3" fmla="*/ 1031773 w 1412001"/>
                <a:gd name="connsiteY3" fmla="*/ 325982 h 463475"/>
                <a:gd name="connsiteX4" fmla="*/ 1120063 w 1412001"/>
                <a:gd name="connsiteY4" fmla="*/ 463475 h 463475"/>
                <a:gd name="connsiteX5" fmla="*/ 1086552 w 1412001"/>
                <a:gd name="connsiteY5" fmla="*/ 324045 h 463475"/>
                <a:gd name="connsiteX6" fmla="*/ 1120063 w 1412001"/>
                <a:gd name="connsiteY6" fmla="*/ 235611 h 463475"/>
                <a:gd name="connsiteX7" fmla="*/ 1154864 w 1412001"/>
                <a:gd name="connsiteY7" fmla="*/ 325336 h 463475"/>
                <a:gd name="connsiteX8" fmla="*/ 1121352 w 1412001"/>
                <a:gd name="connsiteY8" fmla="*/ 418290 h 463475"/>
                <a:gd name="connsiteX9" fmla="*/ 1086552 w 1412001"/>
                <a:gd name="connsiteY9" fmla="*/ 324045 h 463475"/>
                <a:gd name="connsiteX10" fmla="*/ 921571 w 1412001"/>
                <a:gd name="connsiteY10" fmla="*/ 463475 h 463475"/>
                <a:gd name="connsiteX11" fmla="*/ 995683 w 1412001"/>
                <a:gd name="connsiteY11" fmla="*/ 428618 h 463475"/>
                <a:gd name="connsiteX12" fmla="*/ 975705 w 1412001"/>
                <a:gd name="connsiteY12" fmla="*/ 391178 h 463475"/>
                <a:gd name="connsiteX13" fmla="*/ 926082 w 1412001"/>
                <a:gd name="connsiteY13" fmla="*/ 416999 h 463475"/>
                <a:gd name="connsiteX14" fmla="*/ 889993 w 1412001"/>
                <a:gd name="connsiteY14" fmla="*/ 392469 h 463475"/>
                <a:gd name="connsiteX15" fmla="*/ 882259 w 1412001"/>
                <a:gd name="connsiteY15" fmla="*/ 346638 h 463475"/>
                <a:gd name="connsiteX16" fmla="*/ 882259 w 1412001"/>
                <a:gd name="connsiteY16" fmla="*/ 341474 h 463475"/>
                <a:gd name="connsiteX17" fmla="*/ 998261 w 1412001"/>
                <a:gd name="connsiteY17" fmla="*/ 341474 h 463475"/>
                <a:gd name="connsiteX18" fmla="*/ 998261 w 1412001"/>
                <a:gd name="connsiteY18" fmla="*/ 329855 h 463475"/>
                <a:gd name="connsiteX19" fmla="*/ 973127 w 1412001"/>
                <a:gd name="connsiteY19" fmla="*/ 216891 h 463475"/>
                <a:gd name="connsiteX20" fmla="*/ 915126 w 1412001"/>
                <a:gd name="connsiteY20" fmla="*/ 189134 h 463475"/>
                <a:gd name="connsiteX21" fmla="*/ 852614 w 1412001"/>
                <a:gd name="connsiteY21" fmla="*/ 223346 h 463475"/>
                <a:gd name="connsiteX22" fmla="*/ 828770 w 1412001"/>
                <a:gd name="connsiteY22" fmla="*/ 325982 h 463475"/>
                <a:gd name="connsiteX23" fmla="*/ 921571 w 1412001"/>
                <a:gd name="connsiteY23" fmla="*/ 463475 h 463475"/>
                <a:gd name="connsiteX24" fmla="*/ 915771 w 1412001"/>
                <a:gd name="connsiteY24" fmla="*/ 231738 h 463475"/>
                <a:gd name="connsiteX25" fmla="*/ 941549 w 1412001"/>
                <a:gd name="connsiteY25" fmla="*/ 250457 h 463475"/>
                <a:gd name="connsiteX26" fmla="*/ 947349 w 1412001"/>
                <a:gd name="connsiteY26" fmla="*/ 298871 h 463475"/>
                <a:gd name="connsiteX27" fmla="*/ 882259 w 1412001"/>
                <a:gd name="connsiteY27" fmla="*/ 298871 h 463475"/>
                <a:gd name="connsiteX28" fmla="*/ 915771 w 1412001"/>
                <a:gd name="connsiteY28" fmla="*/ 231738 h 463475"/>
                <a:gd name="connsiteX29" fmla="*/ 1252177 w 1412001"/>
                <a:gd name="connsiteY29" fmla="*/ 457020 h 463475"/>
                <a:gd name="connsiteX30" fmla="*/ 1302444 w 1412001"/>
                <a:gd name="connsiteY30" fmla="*/ 457020 h 463475"/>
                <a:gd name="connsiteX31" fmla="*/ 1302444 w 1412001"/>
                <a:gd name="connsiteY31" fmla="*/ 263368 h 463475"/>
                <a:gd name="connsiteX32" fmla="*/ 1339178 w 1412001"/>
                <a:gd name="connsiteY32" fmla="*/ 240129 h 463475"/>
                <a:gd name="connsiteX33" fmla="*/ 1355934 w 1412001"/>
                <a:gd name="connsiteY33" fmla="*/ 246584 h 463475"/>
                <a:gd name="connsiteX34" fmla="*/ 1361734 w 1412001"/>
                <a:gd name="connsiteY34" fmla="*/ 280796 h 463475"/>
                <a:gd name="connsiteX35" fmla="*/ 1361734 w 1412001"/>
                <a:gd name="connsiteY35" fmla="*/ 457020 h 463475"/>
                <a:gd name="connsiteX36" fmla="*/ 1412002 w 1412001"/>
                <a:gd name="connsiteY36" fmla="*/ 457020 h 463475"/>
                <a:gd name="connsiteX37" fmla="*/ 1412002 w 1412001"/>
                <a:gd name="connsiteY37" fmla="*/ 257558 h 463475"/>
                <a:gd name="connsiteX38" fmla="*/ 1399757 w 1412001"/>
                <a:gd name="connsiteY38" fmla="*/ 209790 h 463475"/>
                <a:gd name="connsiteX39" fmla="*/ 1358512 w 1412001"/>
                <a:gd name="connsiteY39" fmla="*/ 191071 h 463475"/>
                <a:gd name="connsiteX40" fmla="*/ 1298577 w 1412001"/>
                <a:gd name="connsiteY40" fmla="*/ 220119 h 463475"/>
                <a:gd name="connsiteX41" fmla="*/ 1292133 w 1412001"/>
                <a:gd name="connsiteY41" fmla="*/ 189134 h 463475"/>
                <a:gd name="connsiteX42" fmla="*/ 1245088 w 1412001"/>
                <a:gd name="connsiteY42" fmla="*/ 201399 h 463475"/>
                <a:gd name="connsiteX43" fmla="*/ 1251532 w 1412001"/>
                <a:gd name="connsiteY43" fmla="*/ 264659 h 463475"/>
                <a:gd name="connsiteX44" fmla="*/ 1251532 w 1412001"/>
                <a:gd name="connsiteY44" fmla="*/ 457020 h 463475"/>
                <a:gd name="connsiteX45" fmla="*/ 668300 w 1412001"/>
                <a:gd name="connsiteY45" fmla="*/ 220119 h 463475"/>
                <a:gd name="connsiteX46" fmla="*/ 661856 w 1412001"/>
                <a:gd name="connsiteY46" fmla="*/ 189134 h 463475"/>
                <a:gd name="connsiteX47" fmla="*/ 614810 w 1412001"/>
                <a:gd name="connsiteY47" fmla="*/ 201399 h 463475"/>
                <a:gd name="connsiteX48" fmla="*/ 621255 w 1412001"/>
                <a:gd name="connsiteY48" fmla="*/ 264659 h 463475"/>
                <a:gd name="connsiteX49" fmla="*/ 621255 w 1412001"/>
                <a:gd name="connsiteY49" fmla="*/ 456375 h 463475"/>
                <a:gd name="connsiteX50" fmla="*/ 671522 w 1412001"/>
                <a:gd name="connsiteY50" fmla="*/ 456375 h 463475"/>
                <a:gd name="connsiteX51" fmla="*/ 671522 w 1412001"/>
                <a:gd name="connsiteY51" fmla="*/ 262722 h 463475"/>
                <a:gd name="connsiteX52" fmla="*/ 708256 w 1412001"/>
                <a:gd name="connsiteY52" fmla="*/ 239484 h 463475"/>
                <a:gd name="connsiteX53" fmla="*/ 725012 w 1412001"/>
                <a:gd name="connsiteY53" fmla="*/ 245939 h 463475"/>
                <a:gd name="connsiteX54" fmla="*/ 730812 w 1412001"/>
                <a:gd name="connsiteY54" fmla="*/ 280151 h 463475"/>
                <a:gd name="connsiteX55" fmla="*/ 730812 w 1412001"/>
                <a:gd name="connsiteY55" fmla="*/ 456375 h 463475"/>
                <a:gd name="connsiteX56" fmla="*/ 781080 w 1412001"/>
                <a:gd name="connsiteY56" fmla="*/ 456375 h 463475"/>
                <a:gd name="connsiteX57" fmla="*/ 781080 w 1412001"/>
                <a:gd name="connsiteY57" fmla="*/ 257558 h 463475"/>
                <a:gd name="connsiteX58" fmla="*/ 768835 w 1412001"/>
                <a:gd name="connsiteY58" fmla="*/ 209790 h 463475"/>
                <a:gd name="connsiteX59" fmla="*/ 727590 w 1412001"/>
                <a:gd name="connsiteY59" fmla="*/ 191071 h 463475"/>
                <a:gd name="connsiteX60" fmla="*/ 668300 w 1412001"/>
                <a:gd name="connsiteY60" fmla="*/ 220119 h 463475"/>
                <a:gd name="connsiteX61" fmla="*/ 53490 w 1412001"/>
                <a:gd name="connsiteY61" fmla="*/ 107154 h 463475"/>
                <a:gd name="connsiteX62" fmla="*/ 106980 w 1412001"/>
                <a:gd name="connsiteY62" fmla="*/ 53577 h 463475"/>
                <a:gd name="connsiteX63" fmla="*/ 53490 w 1412001"/>
                <a:gd name="connsiteY63" fmla="*/ 0 h 463475"/>
                <a:gd name="connsiteX64" fmla="*/ 0 w 1412001"/>
                <a:gd name="connsiteY64" fmla="*/ 53577 h 463475"/>
                <a:gd name="connsiteX65" fmla="*/ 53490 w 1412001"/>
                <a:gd name="connsiteY65" fmla="*/ 107154 h 463475"/>
                <a:gd name="connsiteX66" fmla="*/ 300316 w 1412001"/>
                <a:gd name="connsiteY66" fmla="*/ 457020 h 463475"/>
                <a:gd name="connsiteX67" fmla="*/ 300316 w 1412001"/>
                <a:gd name="connsiteY67" fmla="*/ 257558 h 463475"/>
                <a:gd name="connsiteX68" fmla="*/ 288072 w 1412001"/>
                <a:gd name="connsiteY68" fmla="*/ 209790 h 463475"/>
                <a:gd name="connsiteX69" fmla="*/ 246826 w 1412001"/>
                <a:gd name="connsiteY69" fmla="*/ 191071 h 463475"/>
                <a:gd name="connsiteX70" fmla="*/ 186892 w 1412001"/>
                <a:gd name="connsiteY70" fmla="*/ 220119 h 463475"/>
                <a:gd name="connsiteX71" fmla="*/ 180447 w 1412001"/>
                <a:gd name="connsiteY71" fmla="*/ 189134 h 463475"/>
                <a:gd name="connsiteX72" fmla="*/ 134047 w 1412001"/>
                <a:gd name="connsiteY72" fmla="*/ 202044 h 463475"/>
                <a:gd name="connsiteX73" fmla="*/ 140491 w 1412001"/>
                <a:gd name="connsiteY73" fmla="*/ 265304 h 463475"/>
                <a:gd name="connsiteX74" fmla="*/ 140491 w 1412001"/>
                <a:gd name="connsiteY74" fmla="*/ 457020 h 463475"/>
                <a:gd name="connsiteX75" fmla="*/ 190759 w 1412001"/>
                <a:gd name="connsiteY75" fmla="*/ 457020 h 463475"/>
                <a:gd name="connsiteX76" fmla="*/ 190759 w 1412001"/>
                <a:gd name="connsiteY76" fmla="*/ 263368 h 463475"/>
                <a:gd name="connsiteX77" fmla="*/ 227493 w 1412001"/>
                <a:gd name="connsiteY77" fmla="*/ 240129 h 463475"/>
                <a:gd name="connsiteX78" fmla="*/ 244249 w 1412001"/>
                <a:gd name="connsiteY78" fmla="*/ 246584 h 463475"/>
                <a:gd name="connsiteX79" fmla="*/ 250049 w 1412001"/>
                <a:gd name="connsiteY79" fmla="*/ 280796 h 463475"/>
                <a:gd name="connsiteX80" fmla="*/ 250049 w 1412001"/>
                <a:gd name="connsiteY80" fmla="*/ 457020 h 463475"/>
                <a:gd name="connsiteX81" fmla="*/ 300316 w 1412001"/>
                <a:gd name="connsiteY81" fmla="*/ 457020 h 463475"/>
                <a:gd name="connsiteX82" fmla="*/ 531676 w 1412001"/>
                <a:gd name="connsiteY82" fmla="*/ 92953 h 463475"/>
                <a:gd name="connsiteX83" fmla="*/ 498164 w 1412001"/>
                <a:gd name="connsiteY83" fmla="*/ 126520 h 463475"/>
                <a:gd name="connsiteX84" fmla="*/ 531031 w 1412001"/>
                <a:gd name="connsiteY84" fmla="*/ 160086 h 463475"/>
                <a:gd name="connsiteX85" fmla="*/ 564543 w 1412001"/>
                <a:gd name="connsiteY85" fmla="*/ 126520 h 463475"/>
                <a:gd name="connsiteX86" fmla="*/ 531676 w 1412001"/>
                <a:gd name="connsiteY86" fmla="*/ 92953 h 463475"/>
                <a:gd name="connsiteX87" fmla="*/ 29645 w 1412001"/>
                <a:gd name="connsiteY87" fmla="*/ 457020 h 463475"/>
                <a:gd name="connsiteX88" fmla="*/ 79912 w 1412001"/>
                <a:gd name="connsiteY88" fmla="*/ 457020 h 463475"/>
                <a:gd name="connsiteX89" fmla="*/ 79912 w 1412001"/>
                <a:gd name="connsiteY89" fmla="*/ 142657 h 463475"/>
                <a:gd name="connsiteX90" fmla="*/ 29645 w 1412001"/>
                <a:gd name="connsiteY90" fmla="*/ 149113 h 463475"/>
                <a:gd name="connsiteX91" fmla="*/ 29645 w 1412001"/>
                <a:gd name="connsiteY91" fmla="*/ 457020 h 463475"/>
                <a:gd name="connsiteX92" fmla="*/ 440163 w 1412001"/>
                <a:gd name="connsiteY92" fmla="*/ 123938 h 463475"/>
                <a:gd name="connsiteX93" fmla="*/ 464008 w 1412001"/>
                <a:gd name="connsiteY93" fmla="*/ 131684 h 463475"/>
                <a:gd name="connsiteX94" fmla="*/ 478186 w 1412001"/>
                <a:gd name="connsiteY94" fmla="*/ 92308 h 463475"/>
                <a:gd name="connsiteX95" fmla="*/ 431141 w 1412001"/>
                <a:gd name="connsiteY95" fmla="*/ 78107 h 463475"/>
                <a:gd name="connsiteX96" fmla="*/ 392473 w 1412001"/>
                <a:gd name="connsiteY96" fmla="*/ 91017 h 463475"/>
                <a:gd name="connsiteX97" fmla="*/ 367340 w 1412001"/>
                <a:gd name="connsiteY97" fmla="*/ 160732 h 463475"/>
                <a:gd name="connsiteX98" fmla="*/ 367984 w 1412001"/>
                <a:gd name="connsiteY98" fmla="*/ 194944 h 463475"/>
                <a:gd name="connsiteX99" fmla="*/ 350584 w 1412001"/>
                <a:gd name="connsiteY99" fmla="*/ 194944 h 463475"/>
                <a:gd name="connsiteX100" fmla="*/ 350584 w 1412001"/>
                <a:gd name="connsiteY100" fmla="*/ 239484 h 463475"/>
                <a:gd name="connsiteX101" fmla="*/ 367984 w 1412001"/>
                <a:gd name="connsiteY101" fmla="*/ 239484 h 463475"/>
                <a:gd name="connsiteX102" fmla="*/ 367984 w 1412001"/>
                <a:gd name="connsiteY102" fmla="*/ 456375 h 463475"/>
                <a:gd name="connsiteX103" fmla="*/ 419540 w 1412001"/>
                <a:gd name="connsiteY103" fmla="*/ 456375 h 463475"/>
                <a:gd name="connsiteX104" fmla="*/ 419540 w 1412001"/>
                <a:gd name="connsiteY104" fmla="*/ 240129 h 463475"/>
                <a:gd name="connsiteX105" fmla="*/ 457563 w 1412001"/>
                <a:gd name="connsiteY105" fmla="*/ 240129 h 463475"/>
                <a:gd name="connsiteX106" fmla="*/ 467230 w 1412001"/>
                <a:gd name="connsiteY106" fmla="*/ 195589 h 463475"/>
                <a:gd name="connsiteX107" fmla="*/ 420185 w 1412001"/>
                <a:gd name="connsiteY107" fmla="*/ 195589 h 463475"/>
                <a:gd name="connsiteX108" fmla="*/ 420185 w 1412001"/>
                <a:gd name="connsiteY108" fmla="*/ 155568 h 463475"/>
                <a:gd name="connsiteX109" fmla="*/ 440163 w 1412001"/>
                <a:gd name="connsiteY109" fmla="*/ 123938 h 463475"/>
                <a:gd name="connsiteX110" fmla="*/ 505897 w 1412001"/>
                <a:gd name="connsiteY110" fmla="*/ 457020 h 463475"/>
                <a:gd name="connsiteX111" fmla="*/ 556809 w 1412001"/>
                <a:gd name="connsiteY111" fmla="*/ 457020 h 463475"/>
                <a:gd name="connsiteX112" fmla="*/ 556809 w 1412001"/>
                <a:gd name="connsiteY112" fmla="*/ 191071 h 463475"/>
                <a:gd name="connsiteX113" fmla="*/ 505897 w 1412001"/>
                <a:gd name="connsiteY113" fmla="*/ 197526 h 463475"/>
                <a:gd name="connsiteX114" fmla="*/ 505897 w 1412001"/>
                <a:gd name="connsiteY114" fmla="*/ 457020 h 463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</a:cxnLst>
              <a:rect l="l" t="t" r="r" b="b"/>
              <a:pathLst>
                <a:path w="1412001" h="463475">
                  <a:moveTo>
                    <a:pt x="1120063" y="463475"/>
                  </a:moveTo>
                  <a:cubicBezTo>
                    <a:pt x="1188376" y="463475"/>
                    <a:pt x="1209643" y="391178"/>
                    <a:pt x="1209643" y="324691"/>
                  </a:cubicBezTo>
                  <a:cubicBezTo>
                    <a:pt x="1209643" y="235611"/>
                    <a:pt x="1172264" y="189134"/>
                    <a:pt x="1120063" y="189134"/>
                  </a:cubicBezTo>
                  <a:cubicBezTo>
                    <a:pt x="1054329" y="189134"/>
                    <a:pt x="1031128" y="261431"/>
                    <a:pt x="1031773" y="325982"/>
                  </a:cubicBezTo>
                  <a:cubicBezTo>
                    <a:pt x="1032417" y="389887"/>
                    <a:pt x="1050462" y="463475"/>
                    <a:pt x="1120063" y="463475"/>
                  </a:cubicBezTo>
                  <a:close/>
                  <a:moveTo>
                    <a:pt x="1086552" y="324045"/>
                  </a:moveTo>
                  <a:cubicBezTo>
                    <a:pt x="1086552" y="297580"/>
                    <a:pt x="1086552" y="235611"/>
                    <a:pt x="1120063" y="235611"/>
                  </a:cubicBezTo>
                  <a:cubicBezTo>
                    <a:pt x="1156153" y="235611"/>
                    <a:pt x="1154864" y="296934"/>
                    <a:pt x="1154864" y="325336"/>
                  </a:cubicBezTo>
                  <a:cubicBezTo>
                    <a:pt x="1154864" y="352448"/>
                    <a:pt x="1154864" y="418290"/>
                    <a:pt x="1121352" y="418290"/>
                  </a:cubicBezTo>
                  <a:cubicBezTo>
                    <a:pt x="1085263" y="417644"/>
                    <a:pt x="1086552" y="351802"/>
                    <a:pt x="1086552" y="324045"/>
                  </a:cubicBezTo>
                  <a:close/>
                  <a:moveTo>
                    <a:pt x="921571" y="463475"/>
                  </a:moveTo>
                  <a:cubicBezTo>
                    <a:pt x="949283" y="463475"/>
                    <a:pt x="973127" y="452502"/>
                    <a:pt x="995683" y="428618"/>
                  </a:cubicBezTo>
                  <a:lnTo>
                    <a:pt x="975705" y="391178"/>
                  </a:lnTo>
                  <a:cubicBezTo>
                    <a:pt x="960238" y="407962"/>
                    <a:pt x="944771" y="416999"/>
                    <a:pt x="926082" y="416999"/>
                  </a:cubicBezTo>
                  <a:cubicBezTo>
                    <a:pt x="910615" y="416999"/>
                    <a:pt x="897726" y="407962"/>
                    <a:pt x="889993" y="392469"/>
                  </a:cubicBezTo>
                  <a:cubicBezTo>
                    <a:pt x="883548" y="378914"/>
                    <a:pt x="882259" y="363422"/>
                    <a:pt x="882259" y="346638"/>
                  </a:cubicBezTo>
                  <a:lnTo>
                    <a:pt x="882259" y="341474"/>
                  </a:lnTo>
                  <a:lnTo>
                    <a:pt x="998261" y="341474"/>
                  </a:lnTo>
                  <a:lnTo>
                    <a:pt x="998261" y="329855"/>
                  </a:lnTo>
                  <a:cubicBezTo>
                    <a:pt x="998261" y="272405"/>
                    <a:pt x="991172" y="240775"/>
                    <a:pt x="973127" y="216891"/>
                  </a:cubicBezTo>
                  <a:cubicBezTo>
                    <a:pt x="959594" y="198817"/>
                    <a:pt x="939616" y="189134"/>
                    <a:pt x="915126" y="189134"/>
                  </a:cubicBezTo>
                  <a:cubicBezTo>
                    <a:pt x="889348" y="189134"/>
                    <a:pt x="868081" y="200753"/>
                    <a:pt x="852614" y="223346"/>
                  </a:cubicBezTo>
                  <a:cubicBezTo>
                    <a:pt x="835859" y="247875"/>
                    <a:pt x="828770" y="280796"/>
                    <a:pt x="828770" y="325982"/>
                  </a:cubicBezTo>
                  <a:cubicBezTo>
                    <a:pt x="828125" y="412480"/>
                    <a:pt x="862281" y="463475"/>
                    <a:pt x="921571" y="463475"/>
                  </a:cubicBezTo>
                  <a:close/>
                  <a:moveTo>
                    <a:pt x="915771" y="231738"/>
                  </a:moveTo>
                  <a:cubicBezTo>
                    <a:pt x="928660" y="231738"/>
                    <a:pt x="936394" y="238838"/>
                    <a:pt x="941549" y="250457"/>
                  </a:cubicBezTo>
                  <a:cubicBezTo>
                    <a:pt x="945416" y="260786"/>
                    <a:pt x="947349" y="278214"/>
                    <a:pt x="947349" y="298871"/>
                  </a:cubicBezTo>
                  <a:lnTo>
                    <a:pt x="882259" y="298871"/>
                  </a:lnTo>
                  <a:cubicBezTo>
                    <a:pt x="882904" y="253039"/>
                    <a:pt x="892571" y="231738"/>
                    <a:pt x="915771" y="231738"/>
                  </a:cubicBezTo>
                  <a:close/>
                  <a:moveTo>
                    <a:pt x="1252177" y="457020"/>
                  </a:moveTo>
                  <a:lnTo>
                    <a:pt x="1302444" y="457020"/>
                  </a:lnTo>
                  <a:lnTo>
                    <a:pt x="1302444" y="263368"/>
                  </a:lnTo>
                  <a:cubicBezTo>
                    <a:pt x="1314689" y="248521"/>
                    <a:pt x="1328867" y="240129"/>
                    <a:pt x="1339178" y="240129"/>
                  </a:cubicBezTo>
                  <a:cubicBezTo>
                    <a:pt x="1345623" y="240129"/>
                    <a:pt x="1352067" y="241420"/>
                    <a:pt x="1355934" y="246584"/>
                  </a:cubicBezTo>
                  <a:cubicBezTo>
                    <a:pt x="1359801" y="252394"/>
                    <a:pt x="1361734" y="260786"/>
                    <a:pt x="1361734" y="280796"/>
                  </a:cubicBezTo>
                  <a:lnTo>
                    <a:pt x="1361734" y="457020"/>
                  </a:lnTo>
                  <a:lnTo>
                    <a:pt x="1412002" y="457020"/>
                  </a:lnTo>
                  <a:lnTo>
                    <a:pt x="1412002" y="257558"/>
                  </a:lnTo>
                  <a:cubicBezTo>
                    <a:pt x="1412002" y="240129"/>
                    <a:pt x="1410068" y="222701"/>
                    <a:pt x="1399757" y="209790"/>
                  </a:cubicBezTo>
                  <a:cubicBezTo>
                    <a:pt x="1390735" y="198171"/>
                    <a:pt x="1376557" y="191071"/>
                    <a:pt x="1358512" y="191071"/>
                  </a:cubicBezTo>
                  <a:cubicBezTo>
                    <a:pt x="1335311" y="191071"/>
                    <a:pt x="1311467" y="204626"/>
                    <a:pt x="1298577" y="220119"/>
                  </a:cubicBezTo>
                  <a:cubicBezTo>
                    <a:pt x="1297933" y="206563"/>
                    <a:pt x="1293422" y="193653"/>
                    <a:pt x="1292133" y="189134"/>
                  </a:cubicBezTo>
                  <a:lnTo>
                    <a:pt x="1245088" y="201399"/>
                  </a:lnTo>
                  <a:cubicBezTo>
                    <a:pt x="1247665" y="215600"/>
                    <a:pt x="1251532" y="233029"/>
                    <a:pt x="1251532" y="264659"/>
                  </a:cubicBezTo>
                  <a:lnTo>
                    <a:pt x="1251532" y="457020"/>
                  </a:lnTo>
                  <a:close/>
                  <a:moveTo>
                    <a:pt x="668300" y="220119"/>
                  </a:moveTo>
                  <a:cubicBezTo>
                    <a:pt x="667656" y="206563"/>
                    <a:pt x="663145" y="193653"/>
                    <a:pt x="661856" y="189134"/>
                  </a:cubicBezTo>
                  <a:lnTo>
                    <a:pt x="614810" y="201399"/>
                  </a:lnTo>
                  <a:cubicBezTo>
                    <a:pt x="617388" y="215600"/>
                    <a:pt x="621255" y="233029"/>
                    <a:pt x="621255" y="264659"/>
                  </a:cubicBezTo>
                  <a:lnTo>
                    <a:pt x="621255" y="456375"/>
                  </a:lnTo>
                  <a:lnTo>
                    <a:pt x="671522" y="456375"/>
                  </a:lnTo>
                  <a:lnTo>
                    <a:pt x="671522" y="262722"/>
                  </a:lnTo>
                  <a:cubicBezTo>
                    <a:pt x="683767" y="247875"/>
                    <a:pt x="697945" y="239484"/>
                    <a:pt x="708256" y="239484"/>
                  </a:cubicBezTo>
                  <a:cubicBezTo>
                    <a:pt x="714701" y="239484"/>
                    <a:pt x="721146" y="240775"/>
                    <a:pt x="725012" y="245939"/>
                  </a:cubicBezTo>
                  <a:cubicBezTo>
                    <a:pt x="728879" y="251748"/>
                    <a:pt x="730812" y="260140"/>
                    <a:pt x="730812" y="280151"/>
                  </a:cubicBezTo>
                  <a:lnTo>
                    <a:pt x="730812" y="456375"/>
                  </a:lnTo>
                  <a:lnTo>
                    <a:pt x="781080" y="456375"/>
                  </a:lnTo>
                  <a:lnTo>
                    <a:pt x="781080" y="257558"/>
                  </a:lnTo>
                  <a:cubicBezTo>
                    <a:pt x="781080" y="240129"/>
                    <a:pt x="779146" y="222701"/>
                    <a:pt x="768835" y="209790"/>
                  </a:cubicBezTo>
                  <a:cubicBezTo>
                    <a:pt x="759813" y="198171"/>
                    <a:pt x="745635" y="191071"/>
                    <a:pt x="727590" y="191071"/>
                  </a:cubicBezTo>
                  <a:cubicBezTo>
                    <a:pt x="705034" y="191071"/>
                    <a:pt x="681189" y="204626"/>
                    <a:pt x="668300" y="220119"/>
                  </a:cubicBezTo>
                  <a:close/>
                  <a:moveTo>
                    <a:pt x="53490" y="107154"/>
                  </a:moveTo>
                  <a:cubicBezTo>
                    <a:pt x="83135" y="107154"/>
                    <a:pt x="106980" y="83271"/>
                    <a:pt x="106980" y="53577"/>
                  </a:cubicBezTo>
                  <a:cubicBezTo>
                    <a:pt x="106980" y="23884"/>
                    <a:pt x="83135" y="0"/>
                    <a:pt x="53490" y="0"/>
                  </a:cubicBezTo>
                  <a:cubicBezTo>
                    <a:pt x="23845" y="0"/>
                    <a:pt x="0" y="23884"/>
                    <a:pt x="0" y="53577"/>
                  </a:cubicBezTo>
                  <a:cubicBezTo>
                    <a:pt x="0" y="83271"/>
                    <a:pt x="23845" y="107154"/>
                    <a:pt x="53490" y="107154"/>
                  </a:cubicBezTo>
                  <a:close/>
                  <a:moveTo>
                    <a:pt x="300316" y="457020"/>
                  </a:moveTo>
                  <a:lnTo>
                    <a:pt x="300316" y="257558"/>
                  </a:lnTo>
                  <a:cubicBezTo>
                    <a:pt x="300316" y="240129"/>
                    <a:pt x="298383" y="222701"/>
                    <a:pt x="288072" y="209790"/>
                  </a:cubicBezTo>
                  <a:cubicBezTo>
                    <a:pt x="279049" y="198171"/>
                    <a:pt x="264871" y="191071"/>
                    <a:pt x="246826" y="191071"/>
                  </a:cubicBezTo>
                  <a:cubicBezTo>
                    <a:pt x="223626" y="191071"/>
                    <a:pt x="199781" y="204626"/>
                    <a:pt x="186892" y="220119"/>
                  </a:cubicBezTo>
                  <a:cubicBezTo>
                    <a:pt x="186248" y="206563"/>
                    <a:pt x="181736" y="193653"/>
                    <a:pt x="180447" y="189134"/>
                  </a:cubicBezTo>
                  <a:lnTo>
                    <a:pt x="134047" y="202044"/>
                  </a:lnTo>
                  <a:cubicBezTo>
                    <a:pt x="136625" y="216245"/>
                    <a:pt x="140491" y="233674"/>
                    <a:pt x="140491" y="265304"/>
                  </a:cubicBezTo>
                  <a:lnTo>
                    <a:pt x="140491" y="457020"/>
                  </a:lnTo>
                  <a:lnTo>
                    <a:pt x="190759" y="457020"/>
                  </a:lnTo>
                  <a:lnTo>
                    <a:pt x="190759" y="263368"/>
                  </a:lnTo>
                  <a:cubicBezTo>
                    <a:pt x="203003" y="248521"/>
                    <a:pt x="217181" y="240129"/>
                    <a:pt x="227493" y="240129"/>
                  </a:cubicBezTo>
                  <a:cubicBezTo>
                    <a:pt x="233937" y="240129"/>
                    <a:pt x="240382" y="241420"/>
                    <a:pt x="244249" y="246584"/>
                  </a:cubicBezTo>
                  <a:cubicBezTo>
                    <a:pt x="248115" y="252394"/>
                    <a:pt x="250049" y="260786"/>
                    <a:pt x="250049" y="280796"/>
                  </a:cubicBezTo>
                  <a:lnTo>
                    <a:pt x="250049" y="457020"/>
                  </a:lnTo>
                  <a:lnTo>
                    <a:pt x="300316" y="457020"/>
                  </a:lnTo>
                  <a:close/>
                  <a:moveTo>
                    <a:pt x="531676" y="92953"/>
                  </a:moveTo>
                  <a:cubicBezTo>
                    <a:pt x="512986" y="92953"/>
                    <a:pt x="498164" y="107800"/>
                    <a:pt x="498164" y="126520"/>
                  </a:cubicBezTo>
                  <a:cubicBezTo>
                    <a:pt x="498164" y="145240"/>
                    <a:pt x="512986" y="160086"/>
                    <a:pt x="531031" y="160086"/>
                  </a:cubicBezTo>
                  <a:cubicBezTo>
                    <a:pt x="549720" y="160086"/>
                    <a:pt x="564543" y="145240"/>
                    <a:pt x="564543" y="126520"/>
                  </a:cubicBezTo>
                  <a:cubicBezTo>
                    <a:pt x="564543" y="107800"/>
                    <a:pt x="549720" y="92953"/>
                    <a:pt x="531676" y="92953"/>
                  </a:cubicBezTo>
                  <a:close/>
                  <a:moveTo>
                    <a:pt x="29645" y="457020"/>
                  </a:moveTo>
                  <a:lnTo>
                    <a:pt x="79912" y="457020"/>
                  </a:lnTo>
                  <a:lnTo>
                    <a:pt x="79912" y="142657"/>
                  </a:lnTo>
                  <a:lnTo>
                    <a:pt x="29645" y="149113"/>
                  </a:lnTo>
                  <a:lnTo>
                    <a:pt x="29645" y="457020"/>
                  </a:lnTo>
                  <a:close/>
                  <a:moveTo>
                    <a:pt x="440163" y="123938"/>
                  </a:moveTo>
                  <a:cubicBezTo>
                    <a:pt x="449185" y="123938"/>
                    <a:pt x="458208" y="127165"/>
                    <a:pt x="464008" y="131684"/>
                  </a:cubicBezTo>
                  <a:lnTo>
                    <a:pt x="478186" y="92308"/>
                  </a:lnTo>
                  <a:cubicBezTo>
                    <a:pt x="464652" y="82625"/>
                    <a:pt x="449830" y="78107"/>
                    <a:pt x="431141" y="78107"/>
                  </a:cubicBezTo>
                  <a:cubicBezTo>
                    <a:pt x="418252" y="78107"/>
                    <a:pt x="404718" y="81334"/>
                    <a:pt x="392473" y="91017"/>
                  </a:cubicBezTo>
                  <a:cubicBezTo>
                    <a:pt x="380229" y="101345"/>
                    <a:pt x="367340" y="122001"/>
                    <a:pt x="367340" y="160732"/>
                  </a:cubicBezTo>
                  <a:cubicBezTo>
                    <a:pt x="367340" y="177515"/>
                    <a:pt x="367984" y="194944"/>
                    <a:pt x="367984" y="194944"/>
                  </a:cubicBezTo>
                  <a:lnTo>
                    <a:pt x="350584" y="194944"/>
                  </a:lnTo>
                  <a:lnTo>
                    <a:pt x="350584" y="239484"/>
                  </a:lnTo>
                  <a:lnTo>
                    <a:pt x="367984" y="239484"/>
                  </a:lnTo>
                  <a:lnTo>
                    <a:pt x="367984" y="456375"/>
                  </a:lnTo>
                  <a:lnTo>
                    <a:pt x="419540" y="456375"/>
                  </a:lnTo>
                  <a:lnTo>
                    <a:pt x="419540" y="240129"/>
                  </a:lnTo>
                  <a:lnTo>
                    <a:pt x="457563" y="240129"/>
                  </a:lnTo>
                  <a:lnTo>
                    <a:pt x="467230" y="195589"/>
                  </a:lnTo>
                  <a:lnTo>
                    <a:pt x="420185" y="195589"/>
                  </a:lnTo>
                  <a:lnTo>
                    <a:pt x="420185" y="155568"/>
                  </a:lnTo>
                  <a:cubicBezTo>
                    <a:pt x="420185" y="136202"/>
                    <a:pt x="427918" y="123938"/>
                    <a:pt x="440163" y="123938"/>
                  </a:cubicBezTo>
                  <a:close/>
                  <a:moveTo>
                    <a:pt x="505897" y="457020"/>
                  </a:moveTo>
                  <a:lnTo>
                    <a:pt x="556809" y="457020"/>
                  </a:lnTo>
                  <a:lnTo>
                    <a:pt x="556809" y="191071"/>
                  </a:lnTo>
                  <a:lnTo>
                    <a:pt x="505897" y="197526"/>
                  </a:lnTo>
                  <a:lnTo>
                    <a:pt x="505897" y="457020"/>
                  </a:lnTo>
                  <a:close/>
                </a:path>
              </a:pathLst>
            </a:custGeom>
            <a:solidFill>
              <a:srgbClr val="005DA9"/>
            </a:solidFill>
            <a:ln w="64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baseline="0" noProof="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B383B5BA-723A-4405-A758-172E5648B93E}"/>
                </a:ext>
              </a:extLst>
            </p:cNvPr>
            <p:cNvSpPr/>
            <p:nvPr/>
          </p:nvSpPr>
          <p:spPr>
            <a:xfrm>
              <a:off x="9738355" y="5453433"/>
              <a:ext cx="1826386" cy="800518"/>
            </a:xfrm>
            <a:custGeom>
              <a:avLst/>
              <a:gdLst>
                <a:gd name="connsiteX0" fmla="*/ 1549915 w 1826386"/>
                <a:gd name="connsiteY0" fmla="*/ 674411 h 800518"/>
                <a:gd name="connsiteX1" fmla="*/ 970550 w 1826386"/>
                <a:gd name="connsiteY1" fmla="*/ 746708 h 800518"/>
                <a:gd name="connsiteX2" fmla="*/ 102468 w 1826386"/>
                <a:gd name="connsiteY2" fmla="*/ 396197 h 800518"/>
                <a:gd name="connsiteX3" fmla="*/ 250693 w 1826386"/>
                <a:gd name="connsiteY3" fmla="*/ 186406 h 800518"/>
                <a:gd name="connsiteX4" fmla="*/ 221693 w 1826386"/>
                <a:gd name="connsiteY4" fmla="*/ 129602 h 800518"/>
                <a:gd name="connsiteX5" fmla="*/ 0 w 1826386"/>
                <a:gd name="connsiteY5" fmla="*/ 402006 h 800518"/>
                <a:gd name="connsiteX6" fmla="*/ 975705 w 1826386"/>
                <a:gd name="connsiteY6" fmla="*/ 800285 h 800518"/>
                <a:gd name="connsiteX7" fmla="*/ 1501581 w 1826386"/>
                <a:gd name="connsiteY7" fmla="*/ 718306 h 800518"/>
                <a:gd name="connsiteX8" fmla="*/ 1826386 w 1826386"/>
                <a:gd name="connsiteY8" fmla="*/ 536272 h 800518"/>
                <a:gd name="connsiteX9" fmla="*/ 1549915 w 1826386"/>
                <a:gd name="connsiteY9" fmla="*/ 674411 h 800518"/>
                <a:gd name="connsiteX10" fmla="*/ 467875 w 1826386"/>
                <a:gd name="connsiteY10" fmla="*/ 88289 h 800518"/>
                <a:gd name="connsiteX11" fmla="*/ 550365 w 1826386"/>
                <a:gd name="connsiteY11" fmla="*/ 61823 h 800518"/>
                <a:gd name="connsiteX12" fmla="*/ 976350 w 1826386"/>
                <a:gd name="connsiteY12" fmla="*/ 3727 h 800518"/>
                <a:gd name="connsiteX13" fmla="*/ 540054 w 1826386"/>
                <a:gd name="connsiteY13" fmla="*/ 26966 h 800518"/>
                <a:gd name="connsiteX14" fmla="*/ 451763 w 1826386"/>
                <a:gd name="connsiteY14" fmla="*/ 45685 h 800518"/>
                <a:gd name="connsiteX15" fmla="*/ 416318 w 1826386"/>
                <a:gd name="connsiteY15" fmla="*/ 55368 h 800518"/>
                <a:gd name="connsiteX16" fmla="*/ 384095 w 1826386"/>
                <a:gd name="connsiteY16" fmla="*/ 64405 h 800518"/>
                <a:gd name="connsiteX17" fmla="*/ 345428 w 1826386"/>
                <a:gd name="connsiteY17" fmla="*/ 77315 h 800518"/>
                <a:gd name="connsiteX18" fmla="*/ 366695 w 1826386"/>
                <a:gd name="connsiteY18" fmla="*/ 126374 h 800518"/>
                <a:gd name="connsiteX19" fmla="*/ 467875 w 1826386"/>
                <a:gd name="connsiteY19" fmla="*/ 88289 h 800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26386" h="800518">
                  <a:moveTo>
                    <a:pt x="1549915" y="674411"/>
                  </a:moveTo>
                  <a:cubicBezTo>
                    <a:pt x="1379779" y="724761"/>
                    <a:pt x="1172909" y="746708"/>
                    <a:pt x="970550" y="746708"/>
                  </a:cubicBezTo>
                  <a:cubicBezTo>
                    <a:pt x="456919" y="746708"/>
                    <a:pt x="125669" y="595659"/>
                    <a:pt x="102468" y="396197"/>
                  </a:cubicBezTo>
                  <a:cubicBezTo>
                    <a:pt x="94090" y="321318"/>
                    <a:pt x="152736" y="248375"/>
                    <a:pt x="250693" y="186406"/>
                  </a:cubicBezTo>
                  <a:cubicBezTo>
                    <a:pt x="233293" y="173496"/>
                    <a:pt x="222337" y="152840"/>
                    <a:pt x="221693" y="129602"/>
                  </a:cubicBezTo>
                  <a:cubicBezTo>
                    <a:pt x="79912" y="204481"/>
                    <a:pt x="0" y="302598"/>
                    <a:pt x="0" y="402006"/>
                  </a:cubicBezTo>
                  <a:cubicBezTo>
                    <a:pt x="0" y="622125"/>
                    <a:pt x="392473" y="808031"/>
                    <a:pt x="975705" y="800285"/>
                  </a:cubicBezTo>
                  <a:cubicBezTo>
                    <a:pt x="1178709" y="797703"/>
                    <a:pt x="1348200" y="768655"/>
                    <a:pt x="1501581" y="718306"/>
                  </a:cubicBezTo>
                  <a:cubicBezTo>
                    <a:pt x="1683962" y="658919"/>
                    <a:pt x="1798675" y="573712"/>
                    <a:pt x="1826386" y="536272"/>
                  </a:cubicBezTo>
                  <a:cubicBezTo>
                    <a:pt x="1793519" y="565966"/>
                    <a:pt x="1715540" y="625352"/>
                    <a:pt x="1549915" y="674411"/>
                  </a:cubicBezTo>
                  <a:close/>
                  <a:moveTo>
                    <a:pt x="467875" y="88289"/>
                  </a:moveTo>
                  <a:cubicBezTo>
                    <a:pt x="502031" y="76670"/>
                    <a:pt x="550365" y="61823"/>
                    <a:pt x="550365" y="61823"/>
                  </a:cubicBezTo>
                  <a:cubicBezTo>
                    <a:pt x="686345" y="24384"/>
                    <a:pt x="836503" y="2436"/>
                    <a:pt x="976350" y="3727"/>
                  </a:cubicBezTo>
                  <a:cubicBezTo>
                    <a:pt x="815236" y="-5955"/>
                    <a:pt x="668300" y="3727"/>
                    <a:pt x="540054" y="26966"/>
                  </a:cubicBezTo>
                  <a:cubicBezTo>
                    <a:pt x="540054" y="26966"/>
                    <a:pt x="497519" y="34066"/>
                    <a:pt x="451763" y="45685"/>
                  </a:cubicBezTo>
                  <a:cubicBezTo>
                    <a:pt x="451763" y="45685"/>
                    <a:pt x="429852" y="51495"/>
                    <a:pt x="416318" y="55368"/>
                  </a:cubicBezTo>
                  <a:cubicBezTo>
                    <a:pt x="402785" y="59241"/>
                    <a:pt x="384095" y="64405"/>
                    <a:pt x="384095" y="64405"/>
                  </a:cubicBezTo>
                  <a:cubicBezTo>
                    <a:pt x="371206" y="68278"/>
                    <a:pt x="358317" y="72797"/>
                    <a:pt x="345428" y="77315"/>
                  </a:cubicBezTo>
                  <a:cubicBezTo>
                    <a:pt x="358317" y="90225"/>
                    <a:pt x="366051" y="107009"/>
                    <a:pt x="366695" y="126374"/>
                  </a:cubicBezTo>
                  <a:cubicBezTo>
                    <a:pt x="389251" y="116046"/>
                    <a:pt x="432429" y="100554"/>
                    <a:pt x="467875" y="88289"/>
                  </a:cubicBezTo>
                  <a:close/>
                </a:path>
              </a:pathLst>
            </a:custGeom>
            <a:solidFill>
              <a:srgbClr val="E30034"/>
            </a:solidFill>
            <a:ln w="64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baseline="0" noProof="0"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77B7EDDE-B2BF-41DF-B12E-29C55B064D28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6" name="MIO_AGENDA_IGNORE_CHAPTER_REFERENCE" hidden="1">
            <a:extLst>
              <a:ext uri="{FF2B5EF4-FFF2-40B4-BE49-F238E27FC236}">
                <a16:creationId xmlns:a16="http://schemas.microsoft.com/office/drawing/2014/main" id="{77CD087C-DFE1-43D5-AF8C-29BB0B90F672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8A2B950C-C584-4156-BAA9-284D4A5BB0F4}"/>
              </a:ext>
            </a:extLst>
          </p:cNvPr>
          <p:cNvSpPr>
            <a:spLocks noGrp="1"/>
          </p:cNvSpPr>
          <p:nvPr>
            <p:ph type="dt" sz="half" idx="19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7" name="Footer Placeholder 16" hidden="1">
            <a:extLst>
              <a:ext uri="{FF2B5EF4-FFF2-40B4-BE49-F238E27FC236}">
                <a16:creationId xmlns:a16="http://schemas.microsoft.com/office/drawing/2014/main" id="{05BA39DF-1C65-465A-9ECA-C35A3F0705E9}"/>
              </a:ext>
            </a:extLst>
          </p:cNvPr>
          <p:cNvSpPr>
            <a:spLocks noGrp="1"/>
          </p:cNvSpPr>
          <p:nvPr>
            <p:ph type="ftr" sz="quarter" idx="20"/>
            <p:custDataLst>
              <p:tags r:id="rId8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237973C6-0D90-4AEE-BB6E-AE4A8B5BA26B}"/>
              </a:ext>
            </a:extLst>
          </p:cNvPr>
          <p:cNvSpPr>
            <a:spLocks noGrp="1"/>
          </p:cNvSpPr>
          <p:nvPr>
            <p:ph type="sldNum" sz="quarter" idx="21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D727B4D6-DF5E-49B7-A837-D207551F221D}"/>
              </a:ext>
            </a:extLst>
          </p:cNvPr>
          <p:cNvSpPr/>
          <p:nvPr userDrawn="1"/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92423285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D04A951B-0B3C-4A20-86D2-B3C8F8FB9563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4" name="Background White">
            <a:extLst>
              <a:ext uri="{FF2B5EF4-FFF2-40B4-BE49-F238E27FC236}">
                <a16:creationId xmlns:a16="http://schemas.microsoft.com/office/drawing/2014/main" id="{1FBC75BD-957B-1EC7-B3A9-8C67FC480706}"/>
              </a:ext>
            </a:extLst>
          </p:cNvPr>
          <p:cNvSpPr/>
          <p:nvPr userDrawn="1"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rtl="0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3" name="Crystal Shape">
            <a:extLst>
              <a:ext uri="{FF2B5EF4-FFF2-40B4-BE49-F238E27FC236}">
                <a16:creationId xmlns:a16="http://schemas.microsoft.com/office/drawing/2014/main" id="{2EA7ACC0-9174-0F6F-0B3E-9FE773D0A408}"/>
              </a:ext>
            </a:extLst>
          </p:cNvPr>
          <p:cNvSpPr/>
          <p:nvPr userDrawn="1"/>
        </p:nvSpPr>
        <p:spPr bwMode="auto">
          <a:xfrm>
            <a:off x="2" y="1"/>
            <a:ext cx="12191999" cy="3932241"/>
          </a:xfrm>
          <a:custGeom>
            <a:avLst/>
            <a:gdLst>
              <a:gd name="connsiteX0" fmla="*/ 0 w 12191999"/>
              <a:gd name="connsiteY0" fmla="*/ 0 h 3932241"/>
              <a:gd name="connsiteX1" fmla="*/ 12191999 w 12191999"/>
              <a:gd name="connsiteY1" fmla="*/ 0 h 3932241"/>
              <a:gd name="connsiteX2" fmla="*/ 12191999 w 12191999"/>
              <a:gd name="connsiteY2" fmla="*/ 3726156 h 3932241"/>
              <a:gd name="connsiteX3" fmla="*/ 3063660 w 12191999"/>
              <a:gd name="connsiteY3" fmla="*/ 2179105 h 3932241"/>
              <a:gd name="connsiteX4" fmla="*/ 387 w 12191999"/>
              <a:gd name="connsiteY4" fmla="*/ 3726157 h 3932241"/>
              <a:gd name="connsiteX5" fmla="*/ 387 w 12191999"/>
              <a:gd name="connsiteY5" fmla="*/ 3932241 h 3932241"/>
              <a:gd name="connsiteX6" fmla="*/ 0 w 12191999"/>
              <a:gd name="connsiteY6" fmla="*/ 3932241 h 3932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1999" h="3932241">
                <a:moveTo>
                  <a:pt x="0" y="0"/>
                </a:moveTo>
                <a:lnTo>
                  <a:pt x="12191999" y="0"/>
                </a:lnTo>
                <a:lnTo>
                  <a:pt x="12191999" y="3726156"/>
                </a:lnTo>
                <a:lnTo>
                  <a:pt x="3063660" y="2179105"/>
                </a:lnTo>
                <a:lnTo>
                  <a:pt x="387" y="3726157"/>
                </a:lnTo>
                <a:lnTo>
                  <a:pt x="387" y="3932241"/>
                </a:lnTo>
                <a:lnTo>
                  <a:pt x="0" y="3932241"/>
                </a:lnTo>
                <a:close/>
              </a:path>
            </a:pathLst>
          </a:custGeom>
          <a:solidFill>
            <a:srgbClr val="0A8276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 defTabSz="576000" rtl="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6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624000" y="5641200"/>
            <a:ext cx="828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18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Author (department)</a:t>
            </a:r>
            <a:br>
              <a:rPr lang="en-US" noProof="0" dirty="0"/>
            </a:br>
            <a:r>
              <a:rPr lang="en-US" noProof="0" dirty="0"/>
              <a:t>Date</a:t>
            </a:r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DDFB9099-E080-4657-A124-1583A7385081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24001" y="4161599"/>
            <a:ext cx="8280000" cy="1119600"/>
          </a:xfrm>
        </p:spPr>
        <p:txBody>
          <a:bodyPr bIns="0" anchor="b">
            <a:normAutofit/>
          </a:bodyPr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Please type in title</a:t>
            </a:r>
          </a:p>
        </p:txBody>
      </p:sp>
      <p:sp>
        <p:nvSpPr>
          <p:cNvPr id="8" name="empower_classification_attention_placeholder" hidden="1">
            <a:extLst>
              <a:ext uri="{FF2B5EF4-FFF2-40B4-BE49-F238E27FC236}">
                <a16:creationId xmlns:a16="http://schemas.microsoft.com/office/drawing/2014/main" id="{597455C0-1C86-4D66-BC01-C39FC0636301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411800" y="6501600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9" name="empower_classification_placeholder">
            <a:extLst>
              <a:ext uri="{FF2B5EF4-FFF2-40B4-BE49-F238E27FC236}">
                <a16:creationId xmlns:a16="http://schemas.microsoft.com/office/drawing/2014/main" id="{F2A69E30-B66A-4640-A0FD-5D2C3EE160B0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5412000" y="6501600"/>
            <a:ext cx="13680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96E39437-30C8-4D2C-BDE0-D743E3FA80DD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624000" y="6501600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9" name="empower_draft_placeholder" hidden="1">
            <a:extLst>
              <a:ext uri="{FF2B5EF4-FFF2-40B4-BE49-F238E27FC236}">
                <a16:creationId xmlns:a16="http://schemas.microsoft.com/office/drawing/2014/main" id="{4B8FCDCD-762A-43C6-901A-F85ED8B716C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4350044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12" name="Logo">
            <a:extLst>
              <a:ext uri="{FF2B5EF4-FFF2-40B4-BE49-F238E27FC236}">
                <a16:creationId xmlns:a16="http://schemas.microsoft.com/office/drawing/2014/main" id="{7D4C4BA3-EB41-4D16-AC7A-1D39D9C25FCF}"/>
              </a:ext>
            </a:extLst>
          </p:cNvPr>
          <p:cNvGrpSpPr/>
          <p:nvPr/>
        </p:nvGrpSpPr>
        <p:grpSpPr>
          <a:xfrm>
            <a:off x="9738355" y="5453288"/>
            <a:ext cx="1830253" cy="800431"/>
            <a:chOff x="9738355" y="5453288"/>
            <a:chExt cx="1830253" cy="800431"/>
          </a:xfrm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2F453EFB-4C66-424D-935B-1B2057CC2B64}"/>
                </a:ext>
              </a:extLst>
            </p:cNvPr>
            <p:cNvSpPr/>
            <p:nvPr/>
          </p:nvSpPr>
          <p:spPr>
            <a:xfrm>
              <a:off x="9979381" y="5528812"/>
              <a:ext cx="1412001" cy="463475"/>
            </a:xfrm>
            <a:custGeom>
              <a:avLst/>
              <a:gdLst>
                <a:gd name="connsiteX0" fmla="*/ 1120063 w 1412001"/>
                <a:gd name="connsiteY0" fmla="*/ 463475 h 463475"/>
                <a:gd name="connsiteX1" fmla="*/ 1209643 w 1412001"/>
                <a:gd name="connsiteY1" fmla="*/ 324691 h 463475"/>
                <a:gd name="connsiteX2" fmla="*/ 1120063 w 1412001"/>
                <a:gd name="connsiteY2" fmla="*/ 189134 h 463475"/>
                <a:gd name="connsiteX3" fmla="*/ 1031773 w 1412001"/>
                <a:gd name="connsiteY3" fmla="*/ 325982 h 463475"/>
                <a:gd name="connsiteX4" fmla="*/ 1120063 w 1412001"/>
                <a:gd name="connsiteY4" fmla="*/ 463475 h 463475"/>
                <a:gd name="connsiteX5" fmla="*/ 1086552 w 1412001"/>
                <a:gd name="connsiteY5" fmla="*/ 324045 h 463475"/>
                <a:gd name="connsiteX6" fmla="*/ 1120063 w 1412001"/>
                <a:gd name="connsiteY6" fmla="*/ 235611 h 463475"/>
                <a:gd name="connsiteX7" fmla="*/ 1154864 w 1412001"/>
                <a:gd name="connsiteY7" fmla="*/ 325336 h 463475"/>
                <a:gd name="connsiteX8" fmla="*/ 1121352 w 1412001"/>
                <a:gd name="connsiteY8" fmla="*/ 418290 h 463475"/>
                <a:gd name="connsiteX9" fmla="*/ 1086552 w 1412001"/>
                <a:gd name="connsiteY9" fmla="*/ 324045 h 463475"/>
                <a:gd name="connsiteX10" fmla="*/ 921571 w 1412001"/>
                <a:gd name="connsiteY10" fmla="*/ 463475 h 463475"/>
                <a:gd name="connsiteX11" fmla="*/ 995683 w 1412001"/>
                <a:gd name="connsiteY11" fmla="*/ 428618 h 463475"/>
                <a:gd name="connsiteX12" fmla="*/ 975705 w 1412001"/>
                <a:gd name="connsiteY12" fmla="*/ 391178 h 463475"/>
                <a:gd name="connsiteX13" fmla="*/ 926082 w 1412001"/>
                <a:gd name="connsiteY13" fmla="*/ 416999 h 463475"/>
                <a:gd name="connsiteX14" fmla="*/ 889993 w 1412001"/>
                <a:gd name="connsiteY14" fmla="*/ 392469 h 463475"/>
                <a:gd name="connsiteX15" fmla="*/ 882259 w 1412001"/>
                <a:gd name="connsiteY15" fmla="*/ 346638 h 463475"/>
                <a:gd name="connsiteX16" fmla="*/ 882259 w 1412001"/>
                <a:gd name="connsiteY16" fmla="*/ 341474 h 463475"/>
                <a:gd name="connsiteX17" fmla="*/ 998261 w 1412001"/>
                <a:gd name="connsiteY17" fmla="*/ 341474 h 463475"/>
                <a:gd name="connsiteX18" fmla="*/ 998261 w 1412001"/>
                <a:gd name="connsiteY18" fmla="*/ 329855 h 463475"/>
                <a:gd name="connsiteX19" fmla="*/ 973127 w 1412001"/>
                <a:gd name="connsiteY19" fmla="*/ 216891 h 463475"/>
                <a:gd name="connsiteX20" fmla="*/ 915126 w 1412001"/>
                <a:gd name="connsiteY20" fmla="*/ 189134 h 463475"/>
                <a:gd name="connsiteX21" fmla="*/ 852614 w 1412001"/>
                <a:gd name="connsiteY21" fmla="*/ 223346 h 463475"/>
                <a:gd name="connsiteX22" fmla="*/ 828770 w 1412001"/>
                <a:gd name="connsiteY22" fmla="*/ 325982 h 463475"/>
                <a:gd name="connsiteX23" fmla="*/ 921571 w 1412001"/>
                <a:gd name="connsiteY23" fmla="*/ 463475 h 463475"/>
                <a:gd name="connsiteX24" fmla="*/ 915771 w 1412001"/>
                <a:gd name="connsiteY24" fmla="*/ 231738 h 463475"/>
                <a:gd name="connsiteX25" fmla="*/ 941549 w 1412001"/>
                <a:gd name="connsiteY25" fmla="*/ 250457 h 463475"/>
                <a:gd name="connsiteX26" fmla="*/ 947349 w 1412001"/>
                <a:gd name="connsiteY26" fmla="*/ 298871 h 463475"/>
                <a:gd name="connsiteX27" fmla="*/ 882259 w 1412001"/>
                <a:gd name="connsiteY27" fmla="*/ 298871 h 463475"/>
                <a:gd name="connsiteX28" fmla="*/ 915771 w 1412001"/>
                <a:gd name="connsiteY28" fmla="*/ 231738 h 463475"/>
                <a:gd name="connsiteX29" fmla="*/ 1252177 w 1412001"/>
                <a:gd name="connsiteY29" fmla="*/ 457020 h 463475"/>
                <a:gd name="connsiteX30" fmla="*/ 1302444 w 1412001"/>
                <a:gd name="connsiteY30" fmla="*/ 457020 h 463475"/>
                <a:gd name="connsiteX31" fmla="*/ 1302444 w 1412001"/>
                <a:gd name="connsiteY31" fmla="*/ 263368 h 463475"/>
                <a:gd name="connsiteX32" fmla="*/ 1339178 w 1412001"/>
                <a:gd name="connsiteY32" fmla="*/ 240129 h 463475"/>
                <a:gd name="connsiteX33" fmla="*/ 1355934 w 1412001"/>
                <a:gd name="connsiteY33" fmla="*/ 246584 h 463475"/>
                <a:gd name="connsiteX34" fmla="*/ 1361734 w 1412001"/>
                <a:gd name="connsiteY34" fmla="*/ 280796 h 463475"/>
                <a:gd name="connsiteX35" fmla="*/ 1361734 w 1412001"/>
                <a:gd name="connsiteY35" fmla="*/ 457020 h 463475"/>
                <a:gd name="connsiteX36" fmla="*/ 1412002 w 1412001"/>
                <a:gd name="connsiteY36" fmla="*/ 457020 h 463475"/>
                <a:gd name="connsiteX37" fmla="*/ 1412002 w 1412001"/>
                <a:gd name="connsiteY37" fmla="*/ 257558 h 463475"/>
                <a:gd name="connsiteX38" fmla="*/ 1399757 w 1412001"/>
                <a:gd name="connsiteY38" fmla="*/ 209790 h 463475"/>
                <a:gd name="connsiteX39" fmla="*/ 1358512 w 1412001"/>
                <a:gd name="connsiteY39" fmla="*/ 191071 h 463475"/>
                <a:gd name="connsiteX40" fmla="*/ 1298577 w 1412001"/>
                <a:gd name="connsiteY40" fmla="*/ 220119 h 463475"/>
                <a:gd name="connsiteX41" fmla="*/ 1292133 w 1412001"/>
                <a:gd name="connsiteY41" fmla="*/ 189134 h 463475"/>
                <a:gd name="connsiteX42" fmla="*/ 1245088 w 1412001"/>
                <a:gd name="connsiteY42" fmla="*/ 201399 h 463475"/>
                <a:gd name="connsiteX43" fmla="*/ 1251532 w 1412001"/>
                <a:gd name="connsiteY43" fmla="*/ 264659 h 463475"/>
                <a:gd name="connsiteX44" fmla="*/ 1251532 w 1412001"/>
                <a:gd name="connsiteY44" fmla="*/ 457020 h 463475"/>
                <a:gd name="connsiteX45" fmla="*/ 668300 w 1412001"/>
                <a:gd name="connsiteY45" fmla="*/ 220119 h 463475"/>
                <a:gd name="connsiteX46" fmla="*/ 661856 w 1412001"/>
                <a:gd name="connsiteY46" fmla="*/ 189134 h 463475"/>
                <a:gd name="connsiteX47" fmla="*/ 614810 w 1412001"/>
                <a:gd name="connsiteY47" fmla="*/ 201399 h 463475"/>
                <a:gd name="connsiteX48" fmla="*/ 621255 w 1412001"/>
                <a:gd name="connsiteY48" fmla="*/ 264659 h 463475"/>
                <a:gd name="connsiteX49" fmla="*/ 621255 w 1412001"/>
                <a:gd name="connsiteY49" fmla="*/ 456375 h 463475"/>
                <a:gd name="connsiteX50" fmla="*/ 671522 w 1412001"/>
                <a:gd name="connsiteY50" fmla="*/ 456375 h 463475"/>
                <a:gd name="connsiteX51" fmla="*/ 671522 w 1412001"/>
                <a:gd name="connsiteY51" fmla="*/ 262722 h 463475"/>
                <a:gd name="connsiteX52" fmla="*/ 708256 w 1412001"/>
                <a:gd name="connsiteY52" fmla="*/ 239484 h 463475"/>
                <a:gd name="connsiteX53" fmla="*/ 725012 w 1412001"/>
                <a:gd name="connsiteY53" fmla="*/ 245939 h 463475"/>
                <a:gd name="connsiteX54" fmla="*/ 730812 w 1412001"/>
                <a:gd name="connsiteY54" fmla="*/ 280151 h 463475"/>
                <a:gd name="connsiteX55" fmla="*/ 730812 w 1412001"/>
                <a:gd name="connsiteY55" fmla="*/ 456375 h 463475"/>
                <a:gd name="connsiteX56" fmla="*/ 781080 w 1412001"/>
                <a:gd name="connsiteY56" fmla="*/ 456375 h 463475"/>
                <a:gd name="connsiteX57" fmla="*/ 781080 w 1412001"/>
                <a:gd name="connsiteY57" fmla="*/ 257558 h 463475"/>
                <a:gd name="connsiteX58" fmla="*/ 768835 w 1412001"/>
                <a:gd name="connsiteY58" fmla="*/ 209790 h 463475"/>
                <a:gd name="connsiteX59" fmla="*/ 727590 w 1412001"/>
                <a:gd name="connsiteY59" fmla="*/ 191071 h 463475"/>
                <a:gd name="connsiteX60" fmla="*/ 668300 w 1412001"/>
                <a:gd name="connsiteY60" fmla="*/ 220119 h 463475"/>
                <a:gd name="connsiteX61" fmla="*/ 53490 w 1412001"/>
                <a:gd name="connsiteY61" fmla="*/ 107154 h 463475"/>
                <a:gd name="connsiteX62" fmla="*/ 106980 w 1412001"/>
                <a:gd name="connsiteY62" fmla="*/ 53577 h 463475"/>
                <a:gd name="connsiteX63" fmla="*/ 53490 w 1412001"/>
                <a:gd name="connsiteY63" fmla="*/ 0 h 463475"/>
                <a:gd name="connsiteX64" fmla="*/ 0 w 1412001"/>
                <a:gd name="connsiteY64" fmla="*/ 53577 h 463475"/>
                <a:gd name="connsiteX65" fmla="*/ 53490 w 1412001"/>
                <a:gd name="connsiteY65" fmla="*/ 107154 h 463475"/>
                <a:gd name="connsiteX66" fmla="*/ 300316 w 1412001"/>
                <a:gd name="connsiteY66" fmla="*/ 457020 h 463475"/>
                <a:gd name="connsiteX67" fmla="*/ 300316 w 1412001"/>
                <a:gd name="connsiteY67" fmla="*/ 257558 h 463475"/>
                <a:gd name="connsiteX68" fmla="*/ 288072 w 1412001"/>
                <a:gd name="connsiteY68" fmla="*/ 209790 h 463475"/>
                <a:gd name="connsiteX69" fmla="*/ 246826 w 1412001"/>
                <a:gd name="connsiteY69" fmla="*/ 191071 h 463475"/>
                <a:gd name="connsiteX70" fmla="*/ 186892 w 1412001"/>
                <a:gd name="connsiteY70" fmla="*/ 220119 h 463475"/>
                <a:gd name="connsiteX71" fmla="*/ 180447 w 1412001"/>
                <a:gd name="connsiteY71" fmla="*/ 189134 h 463475"/>
                <a:gd name="connsiteX72" fmla="*/ 134047 w 1412001"/>
                <a:gd name="connsiteY72" fmla="*/ 202044 h 463475"/>
                <a:gd name="connsiteX73" fmla="*/ 140491 w 1412001"/>
                <a:gd name="connsiteY73" fmla="*/ 265304 h 463475"/>
                <a:gd name="connsiteX74" fmla="*/ 140491 w 1412001"/>
                <a:gd name="connsiteY74" fmla="*/ 457020 h 463475"/>
                <a:gd name="connsiteX75" fmla="*/ 190759 w 1412001"/>
                <a:gd name="connsiteY75" fmla="*/ 457020 h 463475"/>
                <a:gd name="connsiteX76" fmla="*/ 190759 w 1412001"/>
                <a:gd name="connsiteY76" fmla="*/ 263368 h 463475"/>
                <a:gd name="connsiteX77" fmla="*/ 227493 w 1412001"/>
                <a:gd name="connsiteY77" fmla="*/ 240129 h 463475"/>
                <a:gd name="connsiteX78" fmla="*/ 244249 w 1412001"/>
                <a:gd name="connsiteY78" fmla="*/ 246584 h 463475"/>
                <a:gd name="connsiteX79" fmla="*/ 250049 w 1412001"/>
                <a:gd name="connsiteY79" fmla="*/ 280796 h 463475"/>
                <a:gd name="connsiteX80" fmla="*/ 250049 w 1412001"/>
                <a:gd name="connsiteY80" fmla="*/ 457020 h 463475"/>
                <a:gd name="connsiteX81" fmla="*/ 300316 w 1412001"/>
                <a:gd name="connsiteY81" fmla="*/ 457020 h 463475"/>
                <a:gd name="connsiteX82" fmla="*/ 531676 w 1412001"/>
                <a:gd name="connsiteY82" fmla="*/ 92953 h 463475"/>
                <a:gd name="connsiteX83" fmla="*/ 498164 w 1412001"/>
                <a:gd name="connsiteY83" fmla="*/ 126520 h 463475"/>
                <a:gd name="connsiteX84" fmla="*/ 531031 w 1412001"/>
                <a:gd name="connsiteY84" fmla="*/ 160086 h 463475"/>
                <a:gd name="connsiteX85" fmla="*/ 564543 w 1412001"/>
                <a:gd name="connsiteY85" fmla="*/ 126520 h 463475"/>
                <a:gd name="connsiteX86" fmla="*/ 531676 w 1412001"/>
                <a:gd name="connsiteY86" fmla="*/ 92953 h 463475"/>
                <a:gd name="connsiteX87" fmla="*/ 29645 w 1412001"/>
                <a:gd name="connsiteY87" fmla="*/ 457020 h 463475"/>
                <a:gd name="connsiteX88" fmla="*/ 79912 w 1412001"/>
                <a:gd name="connsiteY88" fmla="*/ 457020 h 463475"/>
                <a:gd name="connsiteX89" fmla="*/ 79912 w 1412001"/>
                <a:gd name="connsiteY89" fmla="*/ 142657 h 463475"/>
                <a:gd name="connsiteX90" fmla="*/ 29645 w 1412001"/>
                <a:gd name="connsiteY90" fmla="*/ 149113 h 463475"/>
                <a:gd name="connsiteX91" fmla="*/ 29645 w 1412001"/>
                <a:gd name="connsiteY91" fmla="*/ 457020 h 463475"/>
                <a:gd name="connsiteX92" fmla="*/ 440163 w 1412001"/>
                <a:gd name="connsiteY92" fmla="*/ 123938 h 463475"/>
                <a:gd name="connsiteX93" fmla="*/ 464008 w 1412001"/>
                <a:gd name="connsiteY93" fmla="*/ 131684 h 463475"/>
                <a:gd name="connsiteX94" fmla="*/ 478186 w 1412001"/>
                <a:gd name="connsiteY94" fmla="*/ 92308 h 463475"/>
                <a:gd name="connsiteX95" fmla="*/ 431141 w 1412001"/>
                <a:gd name="connsiteY95" fmla="*/ 78107 h 463475"/>
                <a:gd name="connsiteX96" fmla="*/ 392473 w 1412001"/>
                <a:gd name="connsiteY96" fmla="*/ 91017 h 463475"/>
                <a:gd name="connsiteX97" fmla="*/ 367340 w 1412001"/>
                <a:gd name="connsiteY97" fmla="*/ 160732 h 463475"/>
                <a:gd name="connsiteX98" fmla="*/ 367984 w 1412001"/>
                <a:gd name="connsiteY98" fmla="*/ 194944 h 463475"/>
                <a:gd name="connsiteX99" fmla="*/ 350584 w 1412001"/>
                <a:gd name="connsiteY99" fmla="*/ 194944 h 463475"/>
                <a:gd name="connsiteX100" fmla="*/ 350584 w 1412001"/>
                <a:gd name="connsiteY100" fmla="*/ 239484 h 463475"/>
                <a:gd name="connsiteX101" fmla="*/ 367984 w 1412001"/>
                <a:gd name="connsiteY101" fmla="*/ 239484 h 463475"/>
                <a:gd name="connsiteX102" fmla="*/ 367984 w 1412001"/>
                <a:gd name="connsiteY102" fmla="*/ 456375 h 463475"/>
                <a:gd name="connsiteX103" fmla="*/ 419540 w 1412001"/>
                <a:gd name="connsiteY103" fmla="*/ 456375 h 463475"/>
                <a:gd name="connsiteX104" fmla="*/ 419540 w 1412001"/>
                <a:gd name="connsiteY104" fmla="*/ 240129 h 463475"/>
                <a:gd name="connsiteX105" fmla="*/ 457563 w 1412001"/>
                <a:gd name="connsiteY105" fmla="*/ 240129 h 463475"/>
                <a:gd name="connsiteX106" fmla="*/ 467230 w 1412001"/>
                <a:gd name="connsiteY106" fmla="*/ 195589 h 463475"/>
                <a:gd name="connsiteX107" fmla="*/ 420185 w 1412001"/>
                <a:gd name="connsiteY107" fmla="*/ 195589 h 463475"/>
                <a:gd name="connsiteX108" fmla="*/ 420185 w 1412001"/>
                <a:gd name="connsiteY108" fmla="*/ 155568 h 463475"/>
                <a:gd name="connsiteX109" fmla="*/ 440163 w 1412001"/>
                <a:gd name="connsiteY109" fmla="*/ 123938 h 463475"/>
                <a:gd name="connsiteX110" fmla="*/ 505897 w 1412001"/>
                <a:gd name="connsiteY110" fmla="*/ 457020 h 463475"/>
                <a:gd name="connsiteX111" fmla="*/ 556809 w 1412001"/>
                <a:gd name="connsiteY111" fmla="*/ 457020 h 463475"/>
                <a:gd name="connsiteX112" fmla="*/ 556809 w 1412001"/>
                <a:gd name="connsiteY112" fmla="*/ 191071 h 463475"/>
                <a:gd name="connsiteX113" fmla="*/ 505897 w 1412001"/>
                <a:gd name="connsiteY113" fmla="*/ 197526 h 463475"/>
                <a:gd name="connsiteX114" fmla="*/ 505897 w 1412001"/>
                <a:gd name="connsiteY114" fmla="*/ 457020 h 463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</a:cxnLst>
              <a:rect l="l" t="t" r="r" b="b"/>
              <a:pathLst>
                <a:path w="1412001" h="463475">
                  <a:moveTo>
                    <a:pt x="1120063" y="463475"/>
                  </a:moveTo>
                  <a:cubicBezTo>
                    <a:pt x="1188376" y="463475"/>
                    <a:pt x="1209643" y="391178"/>
                    <a:pt x="1209643" y="324691"/>
                  </a:cubicBezTo>
                  <a:cubicBezTo>
                    <a:pt x="1209643" y="235611"/>
                    <a:pt x="1172264" y="189134"/>
                    <a:pt x="1120063" y="189134"/>
                  </a:cubicBezTo>
                  <a:cubicBezTo>
                    <a:pt x="1054329" y="189134"/>
                    <a:pt x="1031128" y="261431"/>
                    <a:pt x="1031773" y="325982"/>
                  </a:cubicBezTo>
                  <a:cubicBezTo>
                    <a:pt x="1032417" y="389887"/>
                    <a:pt x="1050462" y="463475"/>
                    <a:pt x="1120063" y="463475"/>
                  </a:cubicBezTo>
                  <a:close/>
                  <a:moveTo>
                    <a:pt x="1086552" y="324045"/>
                  </a:moveTo>
                  <a:cubicBezTo>
                    <a:pt x="1086552" y="297580"/>
                    <a:pt x="1086552" y="235611"/>
                    <a:pt x="1120063" y="235611"/>
                  </a:cubicBezTo>
                  <a:cubicBezTo>
                    <a:pt x="1156153" y="235611"/>
                    <a:pt x="1154864" y="296934"/>
                    <a:pt x="1154864" y="325336"/>
                  </a:cubicBezTo>
                  <a:cubicBezTo>
                    <a:pt x="1154864" y="352448"/>
                    <a:pt x="1154864" y="418290"/>
                    <a:pt x="1121352" y="418290"/>
                  </a:cubicBezTo>
                  <a:cubicBezTo>
                    <a:pt x="1085263" y="417644"/>
                    <a:pt x="1086552" y="351802"/>
                    <a:pt x="1086552" y="324045"/>
                  </a:cubicBezTo>
                  <a:close/>
                  <a:moveTo>
                    <a:pt x="921571" y="463475"/>
                  </a:moveTo>
                  <a:cubicBezTo>
                    <a:pt x="949283" y="463475"/>
                    <a:pt x="973127" y="452502"/>
                    <a:pt x="995683" y="428618"/>
                  </a:cubicBezTo>
                  <a:lnTo>
                    <a:pt x="975705" y="391178"/>
                  </a:lnTo>
                  <a:cubicBezTo>
                    <a:pt x="960238" y="407962"/>
                    <a:pt x="944771" y="416999"/>
                    <a:pt x="926082" y="416999"/>
                  </a:cubicBezTo>
                  <a:cubicBezTo>
                    <a:pt x="910615" y="416999"/>
                    <a:pt x="897726" y="407962"/>
                    <a:pt x="889993" y="392469"/>
                  </a:cubicBezTo>
                  <a:cubicBezTo>
                    <a:pt x="883548" y="378914"/>
                    <a:pt x="882259" y="363422"/>
                    <a:pt x="882259" y="346638"/>
                  </a:cubicBezTo>
                  <a:lnTo>
                    <a:pt x="882259" y="341474"/>
                  </a:lnTo>
                  <a:lnTo>
                    <a:pt x="998261" y="341474"/>
                  </a:lnTo>
                  <a:lnTo>
                    <a:pt x="998261" y="329855"/>
                  </a:lnTo>
                  <a:cubicBezTo>
                    <a:pt x="998261" y="272405"/>
                    <a:pt x="991172" y="240775"/>
                    <a:pt x="973127" y="216891"/>
                  </a:cubicBezTo>
                  <a:cubicBezTo>
                    <a:pt x="959594" y="198817"/>
                    <a:pt x="939616" y="189134"/>
                    <a:pt x="915126" y="189134"/>
                  </a:cubicBezTo>
                  <a:cubicBezTo>
                    <a:pt x="889348" y="189134"/>
                    <a:pt x="868081" y="200753"/>
                    <a:pt x="852614" y="223346"/>
                  </a:cubicBezTo>
                  <a:cubicBezTo>
                    <a:pt x="835859" y="247875"/>
                    <a:pt x="828770" y="280796"/>
                    <a:pt x="828770" y="325982"/>
                  </a:cubicBezTo>
                  <a:cubicBezTo>
                    <a:pt x="828125" y="412480"/>
                    <a:pt x="862281" y="463475"/>
                    <a:pt x="921571" y="463475"/>
                  </a:cubicBezTo>
                  <a:close/>
                  <a:moveTo>
                    <a:pt x="915771" y="231738"/>
                  </a:moveTo>
                  <a:cubicBezTo>
                    <a:pt x="928660" y="231738"/>
                    <a:pt x="936394" y="238838"/>
                    <a:pt x="941549" y="250457"/>
                  </a:cubicBezTo>
                  <a:cubicBezTo>
                    <a:pt x="945416" y="260786"/>
                    <a:pt x="947349" y="278214"/>
                    <a:pt x="947349" y="298871"/>
                  </a:cubicBezTo>
                  <a:lnTo>
                    <a:pt x="882259" y="298871"/>
                  </a:lnTo>
                  <a:cubicBezTo>
                    <a:pt x="882904" y="253039"/>
                    <a:pt x="892571" y="231738"/>
                    <a:pt x="915771" y="231738"/>
                  </a:cubicBezTo>
                  <a:close/>
                  <a:moveTo>
                    <a:pt x="1252177" y="457020"/>
                  </a:moveTo>
                  <a:lnTo>
                    <a:pt x="1302444" y="457020"/>
                  </a:lnTo>
                  <a:lnTo>
                    <a:pt x="1302444" y="263368"/>
                  </a:lnTo>
                  <a:cubicBezTo>
                    <a:pt x="1314689" y="248521"/>
                    <a:pt x="1328867" y="240129"/>
                    <a:pt x="1339178" y="240129"/>
                  </a:cubicBezTo>
                  <a:cubicBezTo>
                    <a:pt x="1345623" y="240129"/>
                    <a:pt x="1352067" y="241420"/>
                    <a:pt x="1355934" y="246584"/>
                  </a:cubicBezTo>
                  <a:cubicBezTo>
                    <a:pt x="1359801" y="252394"/>
                    <a:pt x="1361734" y="260786"/>
                    <a:pt x="1361734" y="280796"/>
                  </a:cubicBezTo>
                  <a:lnTo>
                    <a:pt x="1361734" y="457020"/>
                  </a:lnTo>
                  <a:lnTo>
                    <a:pt x="1412002" y="457020"/>
                  </a:lnTo>
                  <a:lnTo>
                    <a:pt x="1412002" y="257558"/>
                  </a:lnTo>
                  <a:cubicBezTo>
                    <a:pt x="1412002" y="240129"/>
                    <a:pt x="1410068" y="222701"/>
                    <a:pt x="1399757" y="209790"/>
                  </a:cubicBezTo>
                  <a:cubicBezTo>
                    <a:pt x="1390735" y="198171"/>
                    <a:pt x="1376557" y="191071"/>
                    <a:pt x="1358512" y="191071"/>
                  </a:cubicBezTo>
                  <a:cubicBezTo>
                    <a:pt x="1335311" y="191071"/>
                    <a:pt x="1311467" y="204626"/>
                    <a:pt x="1298577" y="220119"/>
                  </a:cubicBezTo>
                  <a:cubicBezTo>
                    <a:pt x="1297933" y="206563"/>
                    <a:pt x="1293422" y="193653"/>
                    <a:pt x="1292133" y="189134"/>
                  </a:cubicBezTo>
                  <a:lnTo>
                    <a:pt x="1245088" y="201399"/>
                  </a:lnTo>
                  <a:cubicBezTo>
                    <a:pt x="1247665" y="215600"/>
                    <a:pt x="1251532" y="233029"/>
                    <a:pt x="1251532" y="264659"/>
                  </a:cubicBezTo>
                  <a:lnTo>
                    <a:pt x="1251532" y="457020"/>
                  </a:lnTo>
                  <a:close/>
                  <a:moveTo>
                    <a:pt x="668300" y="220119"/>
                  </a:moveTo>
                  <a:cubicBezTo>
                    <a:pt x="667656" y="206563"/>
                    <a:pt x="663145" y="193653"/>
                    <a:pt x="661856" y="189134"/>
                  </a:cubicBezTo>
                  <a:lnTo>
                    <a:pt x="614810" y="201399"/>
                  </a:lnTo>
                  <a:cubicBezTo>
                    <a:pt x="617388" y="215600"/>
                    <a:pt x="621255" y="233029"/>
                    <a:pt x="621255" y="264659"/>
                  </a:cubicBezTo>
                  <a:lnTo>
                    <a:pt x="621255" y="456375"/>
                  </a:lnTo>
                  <a:lnTo>
                    <a:pt x="671522" y="456375"/>
                  </a:lnTo>
                  <a:lnTo>
                    <a:pt x="671522" y="262722"/>
                  </a:lnTo>
                  <a:cubicBezTo>
                    <a:pt x="683767" y="247875"/>
                    <a:pt x="697945" y="239484"/>
                    <a:pt x="708256" y="239484"/>
                  </a:cubicBezTo>
                  <a:cubicBezTo>
                    <a:pt x="714701" y="239484"/>
                    <a:pt x="721146" y="240775"/>
                    <a:pt x="725012" y="245939"/>
                  </a:cubicBezTo>
                  <a:cubicBezTo>
                    <a:pt x="728879" y="251748"/>
                    <a:pt x="730812" y="260140"/>
                    <a:pt x="730812" y="280151"/>
                  </a:cubicBezTo>
                  <a:lnTo>
                    <a:pt x="730812" y="456375"/>
                  </a:lnTo>
                  <a:lnTo>
                    <a:pt x="781080" y="456375"/>
                  </a:lnTo>
                  <a:lnTo>
                    <a:pt x="781080" y="257558"/>
                  </a:lnTo>
                  <a:cubicBezTo>
                    <a:pt x="781080" y="240129"/>
                    <a:pt x="779146" y="222701"/>
                    <a:pt x="768835" y="209790"/>
                  </a:cubicBezTo>
                  <a:cubicBezTo>
                    <a:pt x="759813" y="198171"/>
                    <a:pt x="745635" y="191071"/>
                    <a:pt x="727590" y="191071"/>
                  </a:cubicBezTo>
                  <a:cubicBezTo>
                    <a:pt x="705034" y="191071"/>
                    <a:pt x="681189" y="204626"/>
                    <a:pt x="668300" y="220119"/>
                  </a:cubicBezTo>
                  <a:close/>
                  <a:moveTo>
                    <a:pt x="53490" y="107154"/>
                  </a:moveTo>
                  <a:cubicBezTo>
                    <a:pt x="83135" y="107154"/>
                    <a:pt x="106980" y="83271"/>
                    <a:pt x="106980" y="53577"/>
                  </a:cubicBezTo>
                  <a:cubicBezTo>
                    <a:pt x="106980" y="23884"/>
                    <a:pt x="83135" y="0"/>
                    <a:pt x="53490" y="0"/>
                  </a:cubicBezTo>
                  <a:cubicBezTo>
                    <a:pt x="23845" y="0"/>
                    <a:pt x="0" y="23884"/>
                    <a:pt x="0" y="53577"/>
                  </a:cubicBezTo>
                  <a:cubicBezTo>
                    <a:pt x="0" y="83271"/>
                    <a:pt x="23845" y="107154"/>
                    <a:pt x="53490" y="107154"/>
                  </a:cubicBezTo>
                  <a:close/>
                  <a:moveTo>
                    <a:pt x="300316" y="457020"/>
                  </a:moveTo>
                  <a:lnTo>
                    <a:pt x="300316" y="257558"/>
                  </a:lnTo>
                  <a:cubicBezTo>
                    <a:pt x="300316" y="240129"/>
                    <a:pt x="298383" y="222701"/>
                    <a:pt x="288072" y="209790"/>
                  </a:cubicBezTo>
                  <a:cubicBezTo>
                    <a:pt x="279049" y="198171"/>
                    <a:pt x="264871" y="191071"/>
                    <a:pt x="246826" y="191071"/>
                  </a:cubicBezTo>
                  <a:cubicBezTo>
                    <a:pt x="223626" y="191071"/>
                    <a:pt x="199781" y="204626"/>
                    <a:pt x="186892" y="220119"/>
                  </a:cubicBezTo>
                  <a:cubicBezTo>
                    <a:pt x="186248" y="206563"/>
                    <a:pt x="181736" y="193653"/>
                    <a:pt x="180447" y="189134"/>
                  </a:cubicBezTo>
                  <a:lnTo>
                    <a:pt x="134047" y="202044"/>
                  </a:lnTo>
                  <a:cubicBezTo>
                    <a:pt x="136625" y="216245"/>
                    <a:pt x="140491" y="233674"/>
                    <a:pt x="140491" y="265304"/>
                  </a:cubicBezTo>
                  <a:lnTo>
                    <a:pt x="140491" y="457020"/>
                  </a:lnTo>
                  <a:lnTo>
                    <a:pt x="190759" y="457020"/>
                  </a:lnTo>
                  <a:lnTo>
                    <a:pt x="190759" y="263368"/>
                  </a:lnTo>
                  <a:cubicBezTo>
                    <a:pt x="203003" y="248521"/>
                    <a:pt x="217181" y="240129"/>
                    <a:pt x="227493" y="240129"/>
                  </a:cubicBezTo>
                  <a:cubicBezTo>
                    <a:pt x="233937" y="240129"/>
                    <a:pt x="240382" y="241420"/>
                    <a:pt x="244249" y="246584"/>
                  </a:cubicBezTo>
                  <a:cubicBezTo>
                    <a:pt x="248115" y="252394"/>
                    <a:pt x="250049" y="260786"/>
                    <a:pt x="250049" y="280796"/>
                  </a:cubicBezTo>
                  <a:lnTo>
                    <a:pt x="250049" y="457020"/>
                  </a:lnTo>
                  <a:lnTo>
                    <a:pt x="300316" y="457020"/>
                  </a:lnTo>
                  <a:close/>
                  <a:moveTo>
                    <a:pt x="531676" y="92953"/>
                  </a:moveTo>
                  <a:cubicBezTo>
                    <a:pt x="512986" y="92953"/>
                    <a:pt x="498164" y="107800"/>
                    <a:pt x="498164" y="126520"/>
                  </a:cubicBezTo>
                  <a:cubicBezTo>
                    <a:pt x="498164" y="145240"/>
                    <a:pt x="512986" y="160086"/>
                    <a:pt x="531031" y="160086"/>
                  </a:cubicBezTo>
                  <a:cubicBezTo>
                    <a:pt x="549720" y="160086"/>
                    <a:pt x="564543" y="145240"/>
                    <a:pt x="564543" y="126520"/>
                  </a:cubicBezTo>
                  <a:cubicBezTo>
                    <a:pt x="564543" y="107800"/>
                    <a:pt x="549720" y="92953"/>
                    <a:pt x="531676" y="92953"/>
                  </a:cubicBezTo>
                  <a:close/>
                  <a:moveTo>
                    <a:pt x="29645" y="457020"/>
                  </a:moveTo>
                  <a:lnTo>
                    <a:pt x="79912" y="457020"/>
                  </a:lnTo>
                  <a:lnTo>
                    <a:pt x="79912" y="142657"/>
                  </a:lnTo>
                  <a:lnTo>
                    <a:pt x="29645" y="149113"/>
                  </a:lnTo>
                  <a:lnTo>
                    <a:pt x="29645" y="457020"/>
                  </a:lnTo>
                  <a:close/>
                  <a:moveTo>
                    <a:pt x="440163" y="123938"/>
                  </a:moveTo>
                  <a:cubicBezTo>
                    <a:pt x="449185" y="123938"/>
                    <a:pt x="458208" y="127165"/>
                    <a:pt x="464008" y="131684"/>
                  </a:cubicBezTo>
                  <a:lnTo>
                    <a:pt x="478186" y="92308"/>
                  </a:lnTo>
                  <a:cubicBezTo>
                    <a:pt x="464652" y="82625"/>
                    <a:pt x="449830" y="78107"/>
                    <a:pt x="431141" y="78107"/>
                  </a:cubicBezTo>
                  <a:cubicBezTo>
                    <a:pt x="418252" y="78107"/>
                    <a:pt x="404718" y="81334"/>
                    <a:pt x="392473" y="91017"/>
                  </a:cubicBezTo>
                  <a:cubicBezTo>
                    <a:pt x="380229" y="101345"/>
                    <a:pt x="367340" y="122001"/>
                    <a:pt x="367340" y="160732"/>
                  </a:cubicBezTo>
                  <a:cubicBezTo>
                    <a:pt x="367340" y="177515"/>
                    <a:pt x="367984" y="194944"/>
                    <a:pt x="367984" y="194944"/>
                  </a:cubicBezTo>
                  <a:lnTo>
                    <a:pt x="350584" y="194944"/>
                  </a:lnTo>
                  <a:lnTo>
                    <a:pt x="350584" y="239484"/>
                  </a:lnTo>
                  <a:lnTo>
                    <a:pt x="367984" y="239484"/>
                  </a:lnTo>
                  <a:lnTo>
                    <a:pt x="367984" y="456375"/>
                  </a:lnTo>
                  <a:lnTo>
                    <a:pt x="419540" y="456375"/>
                  </a:lnTo>
                  <a:lnTo>
                    <a:pt x="419540" y="240129"/>
                  </a:lnTo>
                  <a:lnTo>
                    <a:pt x="457563" y="240129"/>
                  </a:lnTo>
                  <a:lnTo>
                    <a:pt x="467230" y="195589"/>
                  </a:lnTo>
                  <a:lnTo>
                    <a:pt x="420185" y="195589"/>
                  </a:lnTo>
                  <a:lnTo>
                    <a:pt x="420185" y="155568"/>
                  </a:lnTo>
                  <a:cubicBezTo>
                    <a:pt x="420185" y="136202"/>
                    <a:pt x="427918" y="123938"/>
                    <a:pt x="440163" y="123938"/>
                  </a:cubicBezTo>
                  <a:close/>
                  <a:moveTo>
                    <a:pt x="505897" y="457020"/>
                  </a:moveTo>
                  <a:lnTo>
                    <a:pt x="556809" y="457020"/>
                  </a:lnTo>
                  <a:lnTo>
                    <a:pt x="556809" y="191071"/>
                  </a:lnTo>
                  <a:lnTo>
                    <a:pt x="505897" y="197526"/>
                  </a:lnTo>
                  <a:lnTo>
                    <a:pt x="505897" y="457020"/>
                  </a:lnTo>
                  <a:close/>
                </a:path>
              </a:pathLst>
            </a:custGeom>
            <a:solidFill>
              <a:srgbClr val="005DA9"/>
            </a:solidFill>
            <a:ln w="64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baseline="0" noProof="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E26861E4-4C53-40F8-8225-0CFFDC5696CD}"/>
                </a:ext>
              </a:extLst>
            </p:cNvPr>
            <p:cNvSpPr/>
            <p:nvPr/>
          </p:nvSpPr>
          <p:spPr>
            <a:xfrm>
              <a:off x="9738355" y="5453433"/>
              <a:ext cx="1826386" cy="800518"/>
            </a:xfrm>
            <a:custGeom>
              <a:avLst/>
              <a:gdLst>
                <a:gd name="connsiteX0" fmla="*/ 1549915 w 1826386"/>
                <a:gd name="connsiteY0" fmla="*/ 674411 h 800518"/>
                <a:gd name="connsiteX1" fmla="*/ 970550 w 1826386"/>
                <a:gd name="connsiteY1" fmla="*/ 746708 h 800518"/>
                <a:gd name="connsiteX2" fmla="*/ 102468 w 1826386"/>
                <a:gd name="connsiteY2" fmla="*/ 396197 h 800518"/>
                <a:gd name="connsiteX3" fmla="*/ 250693 w 1826386"/>
                <a:gd name="connsiteY3" fmla="*/ 186406 h 800518"/>
                <a:gd name="connsiteX4" fmla="*/ 221693 w 1826386"/>
                <a:gd name="connsiteY4" fmla="*/ 129602 h 800518"/>
                <a:gd name="connsiteX5" fmla="*/ 0 w 1826386"/>
                <a:gd name="connsiteY5" fmla="*/ 402006 h 800518"/>
                <a:gd name="connsiteX6" fmla="*/ 975705 w 1826386"/>
                <a:gd name="connsiteY6" fmla="*/ 800285 h 800518"/>
                <a:gd name="connsiteX7" fmla="*/ 1501581 w 1826386"/>
                <a:gd name="connsiteY7" fmla="*/ 718306 h 800518"/>
                <a:gd name="connsiteX8" fmla="*/ 1826386 w 1826386"/>
                <a:gd name="connsiteY8" fmla="*/ 536272 h 800518"/>
                <a:gd name="connsiteX9" fmla="*/ 1549915 w 1826386"/>
                <a:gd name="connsiteY9" fmla="*/ 674411 h 800518"/>
                <a:gd name="connsiteX10" fmla="*/ 467875 w 1826386"/>
                <a:gd name="connsiteY10" fmla="*/ 88289 h 800518"/>
                <a:gd name="connsiteX11" fmla="*/ 550365 w 1826386"/>
                <a:gd name="connsiteY11" fmla="*/ 61823 h 800518"/>
                <a:gd name="connsiteX12" fmla="*/ 976350 w 1826386"/>
                <a:gd name="connsiteY12" fmla="*/ 3727 h 800518"/>
                <a:gd name="connsiteX13" fmla="*/ 540054 w 1826386"/>
                <a:gd name="connsiteY13" fmla="*/ 26966 h 800518"/>
                <a:gd name="connsiteX14" fmla="*/ 451763 w 1826386"/>
                <a:gd name="connsiteY14" fmla="*/ 45685 h 800518"/>
                <a:gd name="connsiteX15" fmla="*/ 416318 w 1826386"/>
                <a:gd name="connsiteY15" fmla="*/ 55368 h 800518"/>
                <a:gd name="connsiteX16" fmla="*/ 384095 w 1826386"/>
                <a:gd name="connsiteY16" fmla="*/ 64405 h 800518"/>
                <a:gd name="connsiteX17" fmla="*/ 345428 w 1826386"/>
                <a:gd name="connsiteY17" fmla="*/ 77315 h 800518"/>
                <a:gd name="connsiteX18" fmla="*/ 366695 w 1826386"/>
                <a:gd name="connsiteY18" fmla="*/ 126374 h 800518"/>
                <a:gd name="connsiteX19" fmla="*/ 467875 w 1826386"/>
                <a:gd name="connsiteY19" fmla="*/ 88289 h 800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26386" h="800518">
                  <a:moveTo>
                    <a:pt x="1549915" y="674411"/>
                  </a:moveTo>
                  <a:cubicBezTo>
                    <a:pt x="1379779" y="724761"/>
                    <a:pt x="1172909" y="746708"/>
                    <a:pt x="970550" y="746708"/>
                  </a:cubicBezTo>
                  <a:cubicBezTo>
                    <a:pt x="456919" y="746708"/>
                    <a:pt x="125669" y="595659"/>
                    <a:pt x="102468" y="396197"/>
                  </a:cubicBezTo>
                  <a:cubicBezTo>
                    <a:pt x="94090" y="321318"/>
                    <a:pt x="152736" y="248375"/>
                    <a:pt x="250693" y="186406"/>
                  </a:cubicBezTo>
                  <a:cubicBezTo>
                    <a:pt x="233293" y="173496"/>
                    <a:pt x="222337" y="152840"/>
                    <a:pt x="221693" y="129602"/>
                  </a:cubicBezTo>
                  <a:cubicBezTo>
                    <a:pt x="79912" y="204481"/>
                    <a:pt x="0" y="302598"/>
                    <a:pt x="0" y="402006"/>
                  </a:cubicBezTo>
                  <a:cubicBezTo>
                    <a:pt x="0" y="622125"/>
                    <a:pt x="392473" y="808031"/>
                    <a:pt x="975705" y="800285"/>
                  </a:cubicBezTo>
                  <a:cubicBezTo>
                    <a:pt x="1178709" y="797703"/>
                    <a:pt x="1348200" y="768655"/>
                    <a:pt x="1501581" y="718306"/>
                  </a:cubicBezTo>
                  <a:cubicBezTo>
                    <a:pt x="1683962" y="658919"/>
                    <a:pt x="1798675" y="573712"/>
                    <a:pt x="1826386" y="536272"/>
                  </a:cubicBezTo>
                  <a:cubicBezTo>
                    <a:pt x="1793519" y="565966"/>
                    <a:pt x="1715540" y="625352"/>
                    <a:pt x="1549915" y="674411"/>
                  </a:cubicBezTo>
                  <a:close/>
                  <a:moveTo>
                    <a:pt x="467875" y="88289"/>
                  </a:moveTo>
                  <a:cubicBezTo>
                    <a:pt x="502031" y="76670"/>
                    <a:pt x="550365" y="61823"/>
                    <a:pt x="550365" y="61823"/>
                  </a:cubicBezTo>
                  <a:cubicBezTo>
                    <a:pt x="686345" y="24384"/>
                    <a:pt x="836503" y="2436"/>
                    <a:pt x="976350" y="3727"/>
                  </a:cubicBezTo>
                  <a:cubicBezTo>
                    <a:pt x="815236" y="-5955"/>
                    <a:pt x="668300" y="3727"/>
                    <a:pt x="540054" y="26966"/>
                  </a:cubicBezTo>
                  <a:cubicBezTo>
                    <a:pt x="540054" y="26966"/>
                    <a:pt x="497519" y="34066"/>
                    <a:pt x="451763" y="45685"/>
                  </a:cubicBezTo>
                  <a:cubicBezTo>
                    <a:pt x="451763" y="45685"/>
                    <a:pt x="429852" y="51495"/>
                    <a:pt x="416318" y="55368"/>
                  </a:cubicBezTo>
                  <a:cubicBezTo>
                    <a:pt x="402785" y="59241"/>
                    <a:pt x="384095" y="64405"/>
                    <a:pt x="384095" y="64405"/>
                  </a:cubicBezTo>
                  <a:cubicBezTo>
                    <a:pt x="371206" y="68278"/>
                    <a:pt x="358317" y="72797"/>
                    <a:pt x="345428" y="77315"/>
                  </a:cubicBezTo>
                  <a:cubicBezTo>
                    <a:pt x="358317" y="90225"/>
                    <a:pt x="366051" y="107009"/>
                    <a:pt x="366695" y="126374"/>
                  </a:cubicBezTo>
                  <a:cubicBezTo>
                    <a:pt x="389251" y="116046"/>
                    <a:pt x="432429" y="100554"/>
                    <a:pt x="467875" y="88289"/>
                  </a:cubicBezTo>
                  <a:close/>
                </a:path>
              </a:pathLst>
            </a:custGeom>
            <a:solidFill>
              <a:srgbClr val="E30034"/>
            </a:solidFill>
            <a:ln w="64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baseline="0" noProof="0"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E1EDD075-E4C7-4D42-B9EA-266CAA36278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5" name="MIO_AGENDA_IGNORE_CHAPTER_REFERENCE" hidden="1">
            <a:extLst>
              <a:ext uri="{FF2B5EF4-FFF2-40B4-BE49-F238E27FC236}">
                <a16:creationId xmlns:a16="http://schemas.microsoft.com/office/drawing/2014/main" id="{69714F47-DD62-4063-BF75-AE10B75ACD2F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C4801112-C226-4D1B-8109-89A1EA6E6950}"/>
              </a:ext>
            </a:extLst>
          </p:cNvPr>
          <p:cNvSpPr>
            <a:spLocks noGrp="1"/>
          </p:cNvSpPr>
          <p:nvPr>
            <p:ph type="dt" sz="half" idx="15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7" name="Footer Placeholder 16" hidden="1">
            <a:extLst>
              <a:ext uri="{FF2B5EF4-FFF2-40B4-BE49-F238E27FC236}">
                <a16:creationId xmlns:a16="http://schemas.microsoft.com/office/drawing/2014/main" id="{4A132925-95FA-4753-A3A8-100A8B4A5840}"/>
              </a:ext>
            </a:extLst>
          </p:cNvPr>
          <p:cNvSpPr>
            <a:spLocks noGrp="1"/>
          </p:cNvSpPr>
          <p:nvPr>
            <p:ph type="ftr" sz="quarter" idx="16"/>
            <p:custDataLst>
              <p:tags r:id="rId8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90BC69B8-D726-4EBC-AE1A-053251677C8B}"/>
              </a:ext>
            </a:extLst>
          </p:cNvPr>
          <p:cNvSpPr>
            <a:spLocks noGrp="1"/>
          </p:cNvSpPr>
          <p:nvPr>
            <p:ph type="sldNum" sz="quarter" idx="17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2" name="MIO_Placeholder_Mapping" hidden="1">
            <a:extLst>
              <a:ext uri="{FF2B5EF4-FFF2-40B4-BE49-F238E27FC236}">
                <a16:creationId xmlns:a16="http://schemas.microsoft.com/office/drawing/2014/main" id="{3B046A58-B894-4C62-9312-C4EF9EDFF3F0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81391533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mpower_additionalText_placeholder" hidden="1">
            <a:extLst>
              <a:ext uri="{FF2B5EF4-FFF2-40B4-BE49-F238E27FC236}">
                <a16:creationId xmlns:a16="http://schemas.microsoft.com/office/drawing/2014/main" id="{93F7048C-8316-453D-8883-8716B78B0306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19AD8A63-6441-49F3-BD90-8D4DF9E47EE1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2" name="empower_proprietary_placeholder" hidden="1">
            <a:extLst>
              <a:ext uri="{FF2B5EF4-FFF2-40B4-BE49-F238E27FC236}">
                <a16:creationId xmlns:a16="http://schemas.microsoft.com/office/drawing/2014/main" id="{47EE7D08-6A4F-4583-B0FB-2642238529C0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4" name="empower_draft_placeholder" hidden="1">
            <a:extLst>
              <a:ext uri="{FF2B5EF4-FFF2-40B4-BE49-F238E27FC236}">
                <a16:creationId xmlns:a16="http://schemas.microsoft.com/office/drawing/2014/main" id="{BBB3932D-D47B-4955-93EE-467AC52E4E27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empower_footer_placeholder">
            <a:extLst>
              <a:ext uri="{FF2B5EF4-FFF2-40B4-BE49-F238E27FC236}">
                <a16:creationId xmlns:a16="http://schemas.microsoft.com/office/drawing/2014/main" id="{BB857729-3B9C-45BF-8F44-236D56EED406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18" name="empower_classification_attention_placeholder" hidden="1">
            <a:extLst>
              <a:ext uri="{FF2B5EF4-FFF2-40B4-BE49-F238E27FC236}">
                <a16:creationId xmlns:a16="http://schemas.microsoft.com/office/drawing/2014/main" id="{ED12D396-6789-4220-B5FF-8F4E755A3C76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0" name="empower_classification_placeholder">
            <a:extLst>
              <a:ext uri="{FF2B5EF4-FFF2-40B4-BE49-F238E27FC236}">
                <a16:creationId xmlns:a16="http://schemas.microsoft.com/office/drawing/2014/main" id="{37C1E426-F34B-4FFB-A688-C9E251A8BC0B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2" name="empower_date_placeholder">
            <a:extLst>
              <a:ext uri="{FF2B5EF4-FFF2-40B4-BE49-F238E27FC236}">
                <a16:creationId xmlns:a16="http://schemas.microsoft.com/office/drawing/2014/main" id="{6976A686-032A-4DD8-ACB2-F6323D2BEB1D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4807386D-5007-41B0-8720-8A575EEBAF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F5FE3C92-21D9-4EC7-8208-A5BA097E9D7D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D1F9AA12-4C8C-4488-AF38-E06943B19AAF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971F8BAB-E178-4122-ADFD-FE4894CC864F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Slide Number Placeholder 10" hidden="1">
            <a:extLst>
              <a:ext uri="{FF2B5EF4-FFF2-40B4-BE49-F238E27FC236}">
                <a16:creationId xmlns:a16="http://schemas.microsoft.com/office/drawing/2014/main" id="{F4BB077B-5178-4306-A596-17CDBFA21A56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E4D23B78-ED4D-4135-B16E-F5097554D30C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2" orient="horz" pos="4020">
          <p15:clr>
            <a:srgbClr val="FBAE40"/>
          </p15:clr>
        </p15:guide>
        <p15:guide id="3" pos="7469">
          <p15:clr>
            <a:srgbClr val="FBAE40"/>
          </p15:clr>
        </p15:guide>
        <p15:guide id="4" pos="211">
          <p15:clr>
            <a:srgbClr val="FBAE40"/>
          </p15:clr>
        </p15:guide>
        <p15:guide id="15" orient="horz" pos="79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|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mpower_additionalText_placeholder" hidden="1">
            <a:extLst>
              <a:ext uri="{FF2B5EF4-FFF2-40B4-BE49-F238E27FC236}">
                <a16:creationId xmlns:a16="http://schemas.microsoft.com/office/drawing/2014/main" id="{9D9C4037-B0BC-4E62-B476-A41D0440655D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empower_document_placeholder" hidden="1">
            <a:extLst>
              <a:ext uri="{FF2B5EF4-FFF2-40B4-BE49-F238E27FC236}">
                <a16:creationId xmlns:a16="http://schemas.microsoft.com/office/drawing/2014/main" id="{7BEA6DD0-FBBB-494B-9C03-C447E71492A5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3" name="empower_proprietary_placeholder" hidden="1">
            <a:extLst>
              <a:ext uri="{FF2B5EF4-FFF2-40B4-BE49-F238E27FC236}">
                <a16:creationId xmlns:a16="http://schemas.microsoft.com/office/drawing/2014/main" id="{295E96AB-B6AB-4A8B-A097-6438B2DA5C51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5" name="empower_draft_placeholder" hidden="1">
            <a:extLst>
              <a:ext uri="{FF2B5EF4-FFF2-40B4-BE49-F238E27FC236}">
                <a16:creationId xmlns:a16="http://schemas.microsoft.com/office/drawing/2014/main" id="{0B3EC6CF-5868-40BD-BF1B-882B13F49F5C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empower_footer_placeholder">
            <a:extLst>
              <a:ext uri="{FF2B5EF4-FFF2-40B4-BE49-F238E27FC236}">
                <a16:creationId xmlns:a16="http://schemas.microsoft.com/office/drawing/2014/main" id="{FE09BAC5-F3BC-4C51-A794-098F4099C052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19" name="empower_classification_attention_placeholder" hidden="1">
            <a:extLst>
              <a:ext uri="{FF2B5EF4-FFF2-40B4-BE49-F238E27FC236}">
                <a16:creationId xmlns:a16="http://schemas.microsoft.com/office/drawing/2014/main" id="{E695FB18-B641-433F-A03A-D58B93F377B4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1" name="empower_classification_placeholder">
            <a:extLst>
              <a:ext uri="{FF2B5EF4-FFF2-40B4-BE49-F238E27FC236}">
                <a16:creationId xmlns:a16="http://schemas.microsoft.com/office/drawing/2014/main" id="{6F76DDB4-3F8E-4A82-B473-4784C9B20BC1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3" name="empower_date_placeholder">
            <a:extLst>
              <a:ext uri="{FF2B5EF4-FFF2-40B4-BE49-F238E27FC236}">
                <a16:creationId xmlns:a16="http://schemas.microsoft.com/office/drawing/2014/main" id="{2C326E6F-F54B-4E77-BCF5-73E6B02466B0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</a:p>
        </p:txBody>
      </p:sp>
      <p:sp>
        <p:nvSpPr>
          <p:cNvPr id="7" name="Conten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11520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2209D2CA-FDE2-4B12-9D75-213CCFE3FA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9" name="LOGO PROTECTION" hidden="1">
            <a:extLst>
              <a:ext uri="{FF2B5EF4-FFF2-40B4-BE49-F238E27FC236}">
                <a16:creationId xmlns:a16="http://schemas.microsoft.com/office/drawing/2014/main" id="{DF1FB678-4F92-45E5-9B25-2B5FE93A0952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17B8A1C3-E607-4E28-91A1-A973183FE78F}"/>
              </a:ext>
            </a:extLst>
          </p:cNvPr>
          <p:cNvSpPr>
            <a:spLocks noGrp="1"/>
          </p:cNvSpPr>
          <p:nvPr>
            <p:ph type="dt" sz="half" idx="14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0" name="Footer Placeholder 9" hidden="1">
            <a:extLst>
              <a:ext uri="{FF2B5EF4-FFF2-40B4-BE49-F238E27FC236}">
                <a16:creationId xmlns:a16="http://schemas.microsoft.com/office/drawing/2014/main" id="{6B901E0B-D453-4CEB-8C35-51C25A27F89D}"/>
              </a:ext>
            </a:extLst>
          </p:cNvPr>
          <p:cNvSpPr>
            <a:spLocks noGrp="1"/>
          </p:cNvSpPr>
          <p:nvPr>
            <p:ph type="ftr" sz="quarter" idx="15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Slide Number Placeholder 11" hidden="1">
            <a:extLst>
              <a:ext uri="{FF2B5EF4-FFF2-40B4-BE49-F238E27FC236}">
                <a16:creationId xmlns:a16="http://schemas.microsoft.com/office/drawing/2014/main" id="{212E0C1A-F772-4C8C-B2E7-03887DA46ED9}"/>
              </a:ext>
            </a:extLst>
          </p:cNvPr>
          <p:cNvSpPr>
            <a:spLocks noGrp="1"/>
          </p:cNvSpPr>
          <p:nvPr>
            <p:ph type="sldNum" sz="quarter" idx="16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C0BE19B5-FA3E-481C-ACF3-046C2AA8A91D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7469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799">
          <p15:clr>
            <a:srgbClr val="FBAE40"/>
          </p15:clr>
        </p15:guide>
        <p15:guide id="4" orient="horz" pos="402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FD35C554-56A1-4651-98F3-FC19B8770A8A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empower_document_placeholder" hidden="1">
            <a:extLst>
              <a:ext uri="{FF2B5EF4-FFF2-40B4-BE49-F238E27FC236}">
                <a16:creationId xmlns:a16="http://schemas.microsoft.com/office/drawing/2014/main" id="{4FA374A8-328C-4586-BEF8-CF0921FBF7D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4" name="empower_proprietary_placeholder" hidden="1">
            <a:extLst>
              <a:ext uri="{FF2B5EF4-FFF2-40B4-BE49-F238E27FC236}">
                <a16:creationId xmlns:a16="http://schemas.microsoft.com/office/drawing/2014/main" id="{AEB670C2-21D6-4210-BA37-DF3C9B9933BC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  <a:endParaRPr lang="en-US" sz="800" b="1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empower_draft_placeholder" hidden="1">
            <a:extLst>
              <a:ext uri="{FF2B5EF4-FFF2-40B4-BE49-F238E27FC236}">
                <a16:creationId xmlns:a16="http://schemas.microsoft.com/office/drawing/2014/main" id="{21B71886-0324-4B36-AA82-C90CF46385B2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empower_footer_placeholder">
            <a:extLst>
              <a:ext uri="{FF2B5EF4-FFF2-40B4-BE49-F238E27FC236}">
                <a16:creationId xmlns:a16="http://schemas.microsoft.com/office/drawing/2014/main" id="{DC9834AE-8B30-477E-8C87-5F8E7D7B17A3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20" name="empower_classification_attention_placeholder" hidden="1">
            <a:extLst>
              <a:ext uri="{FF2B5EF4-FFF2-40B4-BE49-F238E27FC236}">
                <a16:creationId xmlns:a16="http://schemas.microsoft.com/office/drawing/2014/main" id="{B5FD8F85-4CB3-489A-86B2-4ABCB308F30D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2" name="empower_classification_placeholder">
            <a:extLst>
              <a:ext uri="{FF2B5EF4-FFF2-40B4-BE49-F238E27FC236}">
                <a16:creationId xmlns:a16="http://schemas.microsoft.com/office/drawing/2014/main" id="{A254D557-505E-4B08-8C5B-DEA083728C5A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4" name="empower_date_placeholder">
            <a:extLst>
              <a:ext uri="{FF2B5EF4-FFF2-40B4-BE49-F238E27FC236}">
                <a16:creationId xmlns:a16="http://schemas.microsoft.com/office/drawing/2014/main" id="{6E3D16E2-B858-4F89-B7A0-119FBFC70810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</a:p>
        </p:txBody>
      </p:sp>
      <p:sp>
        <p:nvSpPr>
          <p:cNvPr id="7" name="Content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5688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Right"/>
          <p:cNvSpPr>
            <a:spLocks noGrp="1"/>
          </p:cNvSpPr>
          <p:nvPr>
            <p:ph sz="quarter" idx="14" hasCustomPrompt="1"/>
          </p:nvPr>
        </p:nvSpPr>
        <p:spPr>
          <a:xfrm>
            <a:off x="6167439" y="1268414"/>
            <a:ext cx="5689202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373E7DFD-EB78-498B-97A4-CE06BA4BEC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D623209F-EEBF-4451-AF99-363F6EA35F67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9850AB63-C5F5-4BA2-A73E-BB668324B70F}"/>
              </a:ext>
            </a:extLst>
          </p:cNvPr>
          <p:cNvSpPr>
            <a:spLocks noGrp="1"/>
          </p:cNvSpPr>
          <p:nvPr>
            <p:ph type="dt" sz="half" idx="15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1" name="Footer Placeholder 10" hidden="1">
            <a:extLst>
              <a:ext uri="{FF2B5EF4-FFF2-40B4-BE49-F238E27FC236}">
                <a16:creationId xmlns:a16="http://schemas.microsoft.com/office/drawing/2014/main" id="{ED18627F-EDFA-45CA-A572-C60F0E37473A}"/>
              </a:ext>
            </a:extLst>
          </p:cNvPr>
          <p:cNvSpPr>
            <a:spLocks noGrp="1"/>
          </p:cNvSpPr>
          <p:nvPr>
            <p:ph type="ftr" sz="quarter" idx="16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3" name="Slide Number Placeholder 12" hidden="1">
            <a:extLst>
              <a:ext uri="{FF2B5EF4-FFF2-40B4-BE49-F238E27FC236}">
                <a16:creationId xmlns:a16="http://schemas.microsoft.com/office/drawing/2014/main" id="{E2FA0071-6D08-45B0-AF4E-22BFCF09E76B}"/>
              </a:ext>
            </a:extLst>
          </p:cNvPr>
          <p:cNvSpPr>
            <a:spLocks noGrp="1"/>
          </p:cNvSpPr>
          <p:nvPr>
            <p:ph type="sldNum" sz="quarter" idx="17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673026AB-61DE-4BDA-8F8E-CCC68BAAE095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885">
          <p15:clr>
            <a:srgbClr val="FBAE40"/>
          </p15:clr>
        </p15:guide>
        <p15:guide id="2" pos="7469">
          <p15:clr>
            <a:srgbClr val="FBAE40"/>
          </p15:clr>
        </p15:guide>
        <p15:guide id="3" pos="3795">
          <p15:clr>
            <a:srgbClr val="FBAE40"/>
          </p15:clr>
        </p15:guide>
        <p15:guide id="4" pos="211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402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ackground White"/>
          <p:cNvSpPr/>
          <p:nvPr/>
        </p:nvSpPr>
        <p:spPr bwMode="auto">
          <a:xfrm>
            <a:off x="0" y="810000"/>
            <a:ext cx="12191998" cy="604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Crystal Shape">
            <a:extLst>
              <a:ext uri="{FF2B5EF4-FFF2-40B4-BE49-F238E27FC236}">
                <a16:creationId xmlns:a16="http://schemas.microsoft.com/office/drawing/2014/main" id="{3FBBF7BF-BA7F-647C-39AB-CEDA0092AA91}"/>
              </a:ext>
            </a:extLst>
          </p:cNvPr>
          <p:cNvSpPr/>
          <p:nvPr userDrawn="1"/>
        </p:nvSpPr>
        <p:spPr>
          <a:xfrm rot="5400000">
            <a:off x="1207129" y="-1234005"/>
            <a:ext cx="6878637" cy="9330464"/>
          </a:xfrm>
          <a:custGeom>
            <a:avLst/>
            <a:gdLst>
              <a:gd name="connsiteX0" fmla="*/ 0 w 6870543"/>
              <a:gd name="connsiteY0" fmla="*/ 727877 h 5591944"/>
              <a:gd name="connsiteX1" fmla="*/ 1726296 w 6870543"/>
              <a:gd name="connsiteY1" fmla="*/ 0 h 5591944"/>
              <a:gd name="connsiteX2" fmla="*/ 6870543 w 6870543"/>
              <a:gd name="connsiteY2" fmla="*/ 1136853 h 5591944"/>
              <a:gd name="connsiteX3" fmla="*/ 6870543 w 6870543"/>
              <a:gd name="connsiteY3" fmla="*/ 5591944 h 5591944"/>
              <a:gd name="connsiteX4" fmla="*/ 0 w 6870543"/>
              <a:gd name="connsiteY4" fmla="*/ 5591944 h 5591944"/>
              <a:gd name="connsiteX5" fmla="*/ 0 w 6870543"/>
              <a:gd name="connsiteY5" fmla="*/ 727877 h 5591944"/>
              <a:gd name="connsiteX0" fmla="*/ 0 w 6870545"/>
              <a:gd name="connsiteY0" fmla="*/ 727877 h 9322375"/>
              <a:gd name="connsiteX1" fmla="*/ 1726296 w 6870545"/>
              <a:gd name="connsiteY1" fmla="*/ 0 h 9322375"/>
              <a:gd name="connsiteX2" fmla="*/ 6870543 w 6870545"/>
              <a:gd name="connsiteY2" fmla="*/ 1136853 h 9322375"/>
              <a:gd name="connsiteX3" fmla="*/ 6870545 w 6870545"/>
              <a:gd name="connsiteY3" fmla="*/ 9322375 h 9322375"/>
              <a:gd name="connsiteX4" fmla="*/ 0 w 6870545"/>
              <a:gd name="connsiteY4" fmla="*/ 5591944 h 9322375"/>
              <a:gd name="connsiteX5" fmla="*/ 0 w 6870545"/>
              <a:gd name="connsiteY5" fmla="*/ 727877 h 9322375"/>
              <a:gd name="connsiteX0" fmla="*/ 8092 w 6878637"/>
              <a:gd name="connsiteY0" fmla="*/ 727877 h 9330464"/>
              <a:gd name="connsiteX1" fmla="*/ 1734388 w 6878637"/>
              <a:gd name="connsiteY1" fmla="*/ 0 h 9330464"/>
              <a:gd name="connsiteX2" fmla="*/ 6878635 w 6878637"/>
              <a:gd name="connsiteY2" fmla="*/ 1136853 h 9330464"/>
              <a:gd name="connsiteX3" fmla="*/ 6878637 w 6878637"/>
              <a:gd name="connsiteY3" fmla="*/ 9322375 h 9330464"/>
              <a:gd name="connsiteX4" fmla="*/ 0 w 6878637"/>
              <a:gd name="connsiteY4" fmla="*/ 9330464 h 9330464"/>
              <a:gd name="connsiteX5" fmla="*/ 8092 w 6878637"/>
              <a:gd name="connsiteY5" fmla="*/ 727877 h 93304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78637" h="9330464">
                <a:moveTo>
                  <a:pt x="8092" y="727877"/>
                </a:moveTo>
                <a:lnTo>
                  <a:pt x="1734388" y="0"/>
                </a:lnTo>
                <a:lnTo>
                  <a:pt x="6878635" y="1136853"/>
                </a:lnTo>
                <a:cubicBezTo>
                  <a:pt x="6878636" y="3865360"/>
                  <a:pt x="6878636" y="6593868"/>
                  <a:pt x="6878637" y="9322375"/>
                </a:cubicBezTo>
                <a:lnTo>
                  <a:pt x="0" y="9330464"/>
                </a:lnTo>
                <a:cubicBezTo>
                  <a:pt x="2697" y="6462935"/>
                  <a:pt x="5395" y="3595406"/>
                  <a:pt x="8092" y="727877"/>
                </a:cubicBezTo>
                <a:close/>
              </a:path>
            </a:pathLst>
          </a:custGeom>
          <a:solidFill>
            <a:srgbClr val="0A8276"/>
          </a:solidFill>
          <a:ln w="1154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F95C3DD4-2582-4776-B0CC-687FF54364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2134800"/>
            <a:ext cx="8137525" cy="683369"/>
          </a:xfrm>
        </p:spPr>
        <p:txBody>
          <a:bodyPr bIns="0"/>
          <a:lstStyle>
            <a:lvl1pPr>
              <a:defRPr sz="36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Click to enter Section</a:t>
            </a:r>
          </a:p>
        </p:txBody>
      </p:sp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D0048F1C-4756-47EC-8B66-DB56E576453D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5" name="MIO_AGENDA_IGNORE_NAVIGATION" hidden="1">
            <a:extLst>
              <a:ext uri="{FF2B5EF4-FFF2-40B4-BE49-F238E27FC236}">
                <a16:creationId xmlns:a16="http://schemas.microsoft.com/office/drawing/2014/main" id="{33FB814B-5214-4193-99B5-0E31D6690784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9" name="MIO_AGENDA_IGNORE_CHAPTER_REFERENCE" hidden="1">
            <a:extLst>
              <a:ext uri="{FF2B5EF4-FFF2-40B4-BE49-F238E27FC236}">
                <a16:creationId xmlns:a16="http://schemas.microsoft.com/office/drawing/2014/main" id="{524067FF-9067-40E5-ABF5-E79653E2B17D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0949F6EC-C7FD-4272-87A0-1C0174E09327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44ED5823-C4CB-420B-B80B-942E31DCE162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4B1B9C5C-1639-4FEF-865D-BFEAD6451E85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E4554E90-4FD5-45B2-A49A-214245B7F6D7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707432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5337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1344">
          <p15:clr>
            <a:srgbClr val="FBAE40"/>
          </p15:clr>
        </p15:guide>
        <p15:guide id="4" orient="horz" pos="1774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ackground White"/>
          <p:cNvSpPr/>
          <p:nvPr/>
        </p:nvSpPr>
        <p:spPr bwMode="auto">
          <a:xfrm>
            <a:off x="0" y="810000"/>
            <a:ext cx="12191998" cy="604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6" name="Crystal Shape">
            <a:extLst>
              <a:ext uri="{FF2B5EF4-FFF2-40B4-BE49-F238E27FC236}">
                <a16:creationId xmlns:a16="http://schemas.microsoft.com/office/drawing/2014/main" id="{63F28C96-D1D9-271E-B326-A1C4DC6BC78F}"/>
              </a:ext>
            </a:extLst>
          </p:cNvPr>
          <p:cNvSpPr/>
          <p:nvPr userDrawn="1"/>
        </p:nvSpPr>
        <p:spPr>
          <a:xfrm rot="16200000">
            <a:off x="6866258" y="1532259"/>
            <a:ext cx="6857999" cy="3793483"/>
          </a:xfrm>
          <a:custGeom>
            <a:avLst/>
            <a:gdLst>
              <a:gd name="connsiteX0" fmla="*/ 6857999 w 6857999"/>
              <a:gd name="connsiteY0" fmla="*/ 1129077 h 3793483"/>
              <a:gd name="connsiteX1" fmla="*/ 6857999 w 6857999"/>
              <a:gd name="connsiteY1" fmla="*/ 3792536 h 3793483"/>
              <a:gd name="connsiteX2" fmla="*/ 0 w 6857999"/>
              <a:gd name="connsiteY2" fmla="*/ 3793483 h 3793483"/>
              <a:gd name="connsiteX3" fmla="*/ 0 w 6857999"/>
              <a:gd name="connsiteY3" fmla="*/ 729579 h 3793483"/>
              <a:gd name="connsiteX4" fmla="*/ 1748945 w 6857999"/>
              <a:gd name="connsiteY4" fmla="*/ 0 h 37934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57999" h="3793483">
                <a:moveTo>
                  <a:pt x="6857999" y="1129077"/>
                </a:moveTo>
                <a:lnTo>
                  <a:pt x="6857999" y="3792536"/>
                </a:lnTo>
                <a:lnTo>
                  <a:pt x="0" y="3793483"/>
                </a:lnTo>
                <a:lnTo>
                  <a:pt x="0" y="729579"/>
                </a:lnTo>
                <a:lnTo>
                  <a:pt x="1748945" y="0"/>
                </a:lnTo>
                <a:close/>
              </a:path>
            </a:pathLst>
          </a:custGeom>
          <a:solidFill>
            <a:srgbClr val="0A8276"/>
          </a:solidFill>
          <a:ln w="11542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 dirty="0"/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F95C3DD4-2582-4776-B0CC-687FF54364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2134800"/>
            <a:ext cx="8137525" cy="683369"/>
          </a:xfrm>
        </p:spPr>
        <p:txBody>
          <a:bodyPr bIns="0"/>
          <a:lstStyle>
            <a:lvl1pPr>
              <a:defRPr sz="36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Click to enter Section</a:t>
            </a:r>
          </a:p>
        </p:txBody>
      </p:sp>
      <p:sp>
        <p:nvSpPr>
          <p:cNvPr id="15" name="MIO_AGENDA_IGNORE_NAVIGATION" hidden="1">
            <a:extLst>
              <a:ext uri="{FF2B5EF4-FFF2-40B4-BE49-F238E27FC236}">
                <a16:creationId xmlns:a16="http://schemas.microsoft.com/office/drawing/2014/main" id="{33FB814B-5214-4193-99B5-0E31D6690784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9" name="MIO_AGENDA_IGNORE_CHAPTER_REFERENCE" hidden="1">
            <a:extLst>
              <a:ext uri="{FF2B5EF4-FFF2-40B4-BE49-F238E27FC236}">
                <a16:creationId xmlns:a16="http://schemas.microsoft.com/office/drawing/2014/main" id="{524067FF-9067-40E5-ABF5-E79653E2B17D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0949F6EC-C7FD-4272-87A0-1C0174E09327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44ED5823-C4CB-420B-B80B-942E31DCE162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4B1B9C5C-1639-4FEF-865D-BFEAD6451E85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grpSp>
        <p:nvGrpSpPr>
          <p:cNvPr id="4" name="Logo">
            <a:extLst>
              <a:ext uri="{FF2B5EF4-FFF2-40B4-BE49-F238E27FC236}">
                <a16:creationId xmlns:a16="http://schemas.microsoft.com/office/drawing/2014/main" id="{54A1A9A0-DAEC-421A-A9E5-C850C1A8370F}"/>
              </a:ext>
            </a:extLst>
          </p:cNvPr>
          <p:cNvGrpSpPr/>
          <p:nvPr userDrawn="1"/>
        </p:nvGrpSpPr>
        <p:grpSpPr>
          <a:xfrm>
            <a:off x="10659752" y="193689"/>
            <a:ext cx="1206736" cy="528057"/>
            <a:chOff x="10659752" y="193689"/>
            <a:chExt cx="1206736" cy="528057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D5590F6B-D0B1-EBB5-AC0E-AE93E62767D3}"/>
                </a:ext>
              </a:extLst>
            </p:cNvPr>
            <p:cNvSpPr/>
            <p:nvPr/>
          </p:nvSpPr>
          <p:spPr>
            <a:xfrm>
              <a:off x="10819003" y="243412"/>
              <a:ext cx="932942" cy="305729"/>
            </a:xfrm>
            <a:custGeom>
              <a:avLst/>
              <a:gdLst>
                <a:gd name="connsiteX0" fmla="*/ 740052 w 932942"/>
                <a:gd name="connsiteY0" fmla="*/ 305729 h 305729"/>
                <a:gd name="connsiteX1" fmla="*/ 799239 w 932942"/>
                <a:gd name="connsiteY1" fmla="*/ 214181 h 305729"/>
                <a:gd name="connsiteX2" fmla="*/ 740052 w 932942"/>
                <a:gd name="connsiteY2" fmla="*/ 124761 h 305729"/>
                <a:gd name="connsiteX3" fmla="*/ 681717 w 932942"/>
                <a:gd name="connsiteY3" fmla="*/ 215032 h 305729"/>
                <a:gd name="connsiteX4" fmla="*/ 740052 w 932942"/>
                <a:gd name="connsiteY4" fmla="*/ 305729 h 305729"/>
                <a:gd name="connsiteX5" fmla="*/ 717910 w 932942"/>
                <a:gd name="connsiteY5" fmla="*/ 213755 h 305729"/>
                <a:gd name="connsiteX6" fmla="*/ 740052 w 932942"/>
                <a:gd name="connsiteY6" fmla="*/ 155419 h 305729"/>
                <a:gd name="connsiteX7" fmla="*/ 763046 w 932942"/>
                <a:gd name="connsiteY7" fmla="*/ 214606 h 305729"/>
                <a:gd name="connsiteX8" fmla="*/ 740904 w 932942"/>
                <a:gd name="connsiteY8" fmla="*/ 275923 h 305729"/>
                <a:gd name="connsiteX9" fmla="*/ 717910 w 932942"/>
                <a:gd name="connsiteY9" fmla="*/ 213755 h 305729"/>
                <a:gd name="connsiteX10" fmla="*/ 608904 w 932942"/>
                <a:gd name="connsiteY10" fmla="*/ 305729 h 305729"/>
                <a:gd name="connsiteX11" fmla="*/ 657871 w 932942"/>
                <a:gd name="connsiteY11" fmla="*/ 282735 h 305729"/>
                <a:gd name="connsiteX12" fmla="*/ 644671 w 932942"/>
                <a:gd name="connsiteY12" fmla="*/ 258039 h 305729"/>
                <a:gd name="connsiteX13" fmla="*/ 611884 w 932942"/>
                <a:gd name="connsiteY13" fmla="*/ 275071 h 305729"/>
                <a:gd name="connsiteX14" fmla="*/ 588039 w 932942"/>
                <a:gd name="connsiteY14" fmla="*/ 258890 h 305729"/>
                <a:gd name="connsiteX15" fmla="*/ 582929 w 932942"/>
                <a:gd name="connsiteY15" fmla="*/ 228658 h 305729"/>
                <a:gd name="connsiteX16" fmla="*/ 582929 w 932942"/>
                <a:gd name="connsiteY16" fmla="*/ 225252 h 305729"/>
                <a:gd name="connsiteX17" fmla="*/ 659575 w 932942"/>
                <a:gd name="connsiteY17" fmla="*/ 225252 h 305729"/>
                <a:gd name="connsiteX18" fmla="*/ 659575 w 932942"/>
                <a:gd name="connsiteY18" fmla="*/ 217587 h 305729"/>
                <a:gd name="connsiteX19" fmla="*/ 642968 w 932942"/>
                <a:gd name="connsiteY19" fmla="*/ 143071 h 305729"/>
                <a:gd name="connsiteX20" fmla="*/ 604645 w 932942"/>
                <a:gd name="connsiteY20" fmla="*/ 124761 h 305729"/>
                <a:gd name="connsiteX21" fmla="*/ 563342 w 932942"/>
                <a:gd name="connsiteY21" fmla="*/ 147329 h 305729"/>
                <a:gd name="connsiteX22" fmla="*/ 547587 w 932942"/>
                <a:gd name="connsiteY22" fmla="*/ 215032 h 305729"/>
                <a:gd name="connsiteX23" fmla="*/ 608904 w 932942"/>
                <a:gd name="connsiteY23" fmla="*/ 305729 h 305729"/>
                <a:gd name="connsiteX24" fmla="*/ 605071 w 932942"/>
                <a:gd name="connsiteY24" fmla="*/ 152865 h 305729"/>
                <a:gd name="connsiteX25" fmla="*/ 622104 w 932942"/>
                <a:gd name="connsiteY25" fmla="*/ 165213 h 305729"/>
                <a:gd name="connsiteX26" fmla="*/ 625936 w 932942"/>
                <a:gd name="connsiteY26" fmla="*/ 197148 h 305729"/>
                <a:gd name="connsiteX27" fmla="*/ 582929 w 932942"/>
                <a:gd name="connsiteY27" fmla="*/ 197148 h 305729"/>
                <a:gd name="connsiteX28" fmla="*/ 605071 w 932942"/>
                <a:gd name="connsiteY28" fmla="*/ 152865 h 305729"/>
                <a:gd name="connsiteX29" fmla="*/ 827342 w 932942"/>
                <a:gd name="connsiteY29" fmla="*/ 301471 h 305729"/>
                <a:gd name="connsiteX30" fmla="*/ 860555 w 932942"/>
                <a:gd name="connsiteY30" fmla="*/ 301471 h 305729"/>
                <a:gd name="connsiteX31" fmla="*/ 860555 w 932942"/>
                <a:gd name="connsiteY31" fmla="*/ 173729 h 305729"/>
                <a:gd name="connsiteX32" fmla="*/ 884826 w 932942"/>
                <a:gd name="connsiteY32" fmla="*/ 158400 h 305729"/>
                <a:gd name="connsiteX33" fmla="*/ 895897 w 932942"/>
                <a:gd name="connsiteY33" fmla="*/ 162658 h 305729"/>
                <a:gd name="connsiteX34" fmla="*/ 899730 w 932942"/>
                <a:gd name="connsiteY34" fmla="*/ 185226 h 305729"/>
                <a:gd name="connsiteX35" fmla="*/ 899730 w 932942"/>
                <a:gd name="connsiteY35" fmla="*/ 301471 h 305729"/>
                <a:gd name="connsiteX36" fmla="*/ 932942 w 932942"/>
                <a:gd name="connsiteY36" fmla="*/ 301471 h 305729"/>
                <a:gd name="connsiteX37" fmla="*/ 932942 w 932942"/>
                <a:gd name="connsiteY37" fmla="*/ 169897 h 305729"/>
                <a:gd name="connsiteX38" fmla="*/ 924852 w 932942"/>
                <a:gd name="connsiteY38" fmla="*/ 138387 h 305729"/>
                <a:gd name="connsiteX39" fmla="*/ 897601 w 932942"/>
                <a:gd name="connsiteY39" fmla="*/ 126039 h 305729"/>
                <a:gd name="connsiteX40" fmla="*/ 858000 w 932942"/>
                <a:gd name="connsiteY40" fmla="*/ 145200 h 305729"/>
                <a:gd name="connsiteX41" fmla="*/ 853742 w 932942"/>
                <a:gd name="connsiteY41" fmla="*/ 124761 h 305729"/>
                <a:gd name="connsiteX42" fmla="*/ 822659 w 932942"/>
                <a:gd name="connsiteY42" fmla="*/ 132852 h 305729"/>
                <a:gd name="connsiteX43" fmla="*/ 826917 w 932942"/>
                <a:gd name="connsiteY43" fmla="*/ 174581 h 305729"/>
                <a:gd name="connsiteX44" fmla="*/ 826917 w 932942"/>
                <a:gd name="connsiteY44" fmla="*/ 301471 h 305729"/>
                <a:gd name="connsiteX45" fmla="*/ 441562 w 932942"/>
                <a:gd name="connsiteY45" fmla="*/ 145200 h 305729"/>
                <a:gd name="connsiteX46" fmla="*/ 437304 w 932942"/>
                <a:gd name="connsiteY46" fmla="*/ 124761 h 305729"/>
                <a:gd name="connsiteX47" fmla="*/ 406220 w 932942"/>
                <a:gd name="connsiteY47" fmla="*/ 132852 h 305729"/>
                <a:gd name="connsiteX48" fmla="*/ 410478 w 932942"/>
                <a:gd name="connsiteY48" fmla="*/ 174581 h 305729"/>
                <a:gd name="connsiteX49" fmla="*/ 410478 w 932942"/>
                <a:gd name="connsiteY49" fmla="*/ 301045 h 305729"/>
                <a:gd name="connsiteX50" fmla="*/ 443691 w 932942"/>
                <a:gd name="connsiteY50" fmla="*/ 301045 h 305729"/>
                <a:gd name="connsiteX51" fmla="*/ 443691 w 932942"/>
                <a:gd name="connsiteY51" fmla="*/ 173303 h 305729"/>
                <a:gd name="connsiteX52" fmla="*/ 467962 w 932942"/>
                <a:gd name="connsiteY52" fmla="*/ 157974 h 305729"/>
                <a:gd name="connsiteX53" fmla="*/ 479033 w 932942"/>
                <a:gd name="connsiteY53" fmla="*/ 162232 h 305729"/>
                <a:gd name="connsiteX54" fmla="*/ 482865 w 932942"/>
                <a:gd name="connsiteY54" fmla="*/ 184800 h 305729"/>
                <a:gd name="connsiteX55" fmla="*/ 482865 w 932942"/>
                <a:gd name="connsiteY55" fmla="*/ 301045 h 305729"/>
                <a:gd name="connsiteX56" fmla="*/ 516078 w 932942"/>
                <a:gd name="connsiteY56" fmla="*/ 301045 h 305729"/>
                <a:gd name="connsiteX57" fmla="*/ 516078 w 932942"/>
                <a:gd name="connsiteY57" fmla="*/ 169897 h 305729"/>
                <a:gd name="connsiteX58" fmla="*/ 507987 w 932942"/>
                <a:gd name="connsiteY58" fmla="*/ 138387 h 305729"/>
                <a:gd name="connsiteX59" fmla="*/ 480736 w 932942"/>
                <a:gd name="connsiteY59" fmla="*/ 126039 h 305729"/>
                <a:gd name="connsiteX60" fmla="*/ 441562 w 932942"/>
                <a:gd name="connsiteY60" fmla="*/ 145200 h 305729"/>
                <a:gd name="connsiteX61" fmla="*/ 35342 w 932942"/>
                <a:gd name="connsiteY61" fmla="*/ 70684 h 305729"/>
                <a:gd name="connsiteX62" fmla="*/ 70684 w 932942"/>
                <a:gd name="connsiteY62" fmla="*/ 35342 h 305729"/>
                <a:gd name="connsiteX63" fmla="*/ 35342 w 932942"/>
                <a:gd name="connsiteY63" fmla="*/ 0 h 305729"/>
                <a:gd name="connsiteX64" fmla="*/ 0 w 932942"/>
                <a:gd name="connsiteY64" fmla="*/ 35342 h 305729"/>
                <a:gd name="connsiteX65" fmla="*/ 35342 w 932942"/>
                <a:gd name="connsiteY65" fmla="*/ 70684 h 305729"/>
                <a:gd name="connsiteX66" fmla="*/ 198426 w 932942"/>
                <a:gd name="connsiteY66" fmla="*/ 301471 h 305729"/>
                <a:gd name="connsiteX67" fmla="*/ 198426 w 932942"/>
                <a:gd name="connsiteY67" fmla="*/ 169897 h 305729"/>
                <a:gd name="connsiteX68" fmla="*/ 190336 w 932942"/>
                <a:gd name="connsiteY68" fmla="*/ 138387 h 305729"/>
                <a:gd name="connsiteX69" fmla="*/ 163084 w 932942"/>
                <a:gd name="connsiteY69" fmla="*/ 126039 h 305729"/>
                <a:gd name="connsiteX70" fmla="*/ 123484 w 932942"/>
                <a:gd name="connsiteY70" fmla="*/ 145200 h 305729"/>
                <a:gd name="connsiteX71" fmla="*/ 119226 w 932942"/>
                <a:gd name="connsiteY71" fmla="*/ 124761 h 305729"/>
                <a:gd name="connsiteX72" fmla="*/ 88568 w 932942"/>
                <a:gd name="connsiteY72" fmla="*/ 133277 h 305729"/>
                <a:gd name="connsiteX73" fmla="*/ 92826 w 932942"/>
                <a:gd name="connsiteY73" fmla="*/ 175006 h 305729"/>
                <a:gd name="connsiteX74" fmla="*/ 92826 w 932942"/>
                <a:gd name="connsiteY74" fmla="*/ 301471 h 305729"/>
                <a:gd name="connsiteX75" fmla="*/ 126039 w 932942"/>
                <a:gd name="connsiteY75" fmla="*/ 301471 h 305729"/>
                <a:gd name="connsiteX76" fmla="*/ 126039 w 932942"/>
                <a:gd name="connsiteY76" fmla="*/ 173729 h 305729"/>
                <a:gd name="connsiteX77" fmla="*/ 150310 w 932942"/>
                <a:gd name="connsiteY77" fmla="*/ 158400 h 305729"/>
                <a:gd name="connsiteX78" fmla="*/ 161381 w 932942"/>
                <a:gd name="connsiteY78" fmla="*/ 162658 h 305729"/>
                <a:gd name="connsiteX79" fmla="*/ 165213 w 932942"/>
                <a:gd name="connsiteY79" fmla="*/ 185226 h 305729"/>
                <a:gd name="connsiteX80" fmla="*/ 165213 w 932942"/>
                <a:gd name="connsiteY80" fmla="*/ 301471 h 305729"/>
                <a:gd name="connsiteX81" fmla="*/ 198426 w 932942"/>
                <a:gd name="connsiteY81" fmla="*/ 301471 h 305729"/>
                <a:gd name="connsiteX82" fmla="*/ 351291 w 932942"/>
                <a:gd name="connsiteY82" fmla="*/ 61316 h 305729"/>
                <a:gd name="connsiteX83" fmla="*/ 329149 w 932942"/>
                <a:gd name="connsiteY83" fmla="*/ 83458 h 305729"/>
                <a:gd name="connsiteX84" fmla="*/ 350865 w 932942"/>
                <a:gd name="connsiteY84" fmla="*/ 105600 h 305729"/>
                <a:gd name="connsiteX85" fmla="*/ 373007 w 932942"/>
                <a:gd name="connsiteY85" fmla="*/ 83458 h 305729"/>
                <a:gd name="connsiteX86" fmla="*/ 351291 w 932942"/>
                <a:gd name="connsiteY86" fmla="*/ 61316 h 305729"/>
                <a:gd name="connsiteX87" fmla="*/ 19587 w 932942"/>
                <a:gd name="connsiteY87" fmla="*/ 301471 h 305729"/>
                <a:gd name="connsiteX88" fmla="*/ 52800 w 932942"/>
                <a:gd name="connsiteY88" fmla="*/ 301471 h 305729"/>
                <a:gd name="connsiteX89" fmla="*/ 52800 w 932942"/>
                <a:gd name="connsiteY89" fmla="*/ 94103 h 305729"/>
                <a:gd name="connsiteX90" fmla="*/ 19587 w 932942"/>
                <a:gd name="connsiteY90" fmla="*/ 98361 h 305729"/>
                <a:gd name="connsiteX91" fmla="*/ 19587 w 932942"/>
                <a:gd name="connsiteY91" fmla="*/ 301471 h 305729"/>
                <a:gd name="connsiteX92" fmla="*/ 290826 w 932942"/>
                <a:gd name="connsiteY92" fmla="*/ 81755 h 305729"/>
                <a:gd name="connsiteX93" fmla="*/ 306581 w 932942"/>
                <a:gd name="connsiteY93" fmla="*/ 86865 h 305729"/>
                <a:gd name="connsiteX94" fmla="*/ 315949 w 932942"/>
                <a:gd name="connsiteY94" fmla="*/ 60890 h 305729"/>
                <a:gd name="connsiteX95" fmla="*/ 284865 w 932942"/>
                <a:gd name="connsiteY95" fmla="*/ 51523 h 305729"/>
                <a:gd name="connsiteX96" fmla="*/ 259316 w 932942"/>
                <a:gd name="connsiteY96" fmla="*/ 60039 h 305729"/>
                <a:gd name="connsiteX97" fmla="*/ 242710 w 932942"/>
                <a:gd name="connsiteY97" fmla="*/ 106026 h 305729"/>
                <a:gd name="connsiteX98" fmla="*/ 243136 w 932942"/>
                <a:gd name="connsiteY98" fmla="*/ 128594 h 305729"/>
                <a:gd name="connsiteX99" fmla="*/ 231639 w 932942"/>
                <a:gd name="connsiteY99" fmla="*/ 128594 h 305729"/>
                <a:gd name="connsiteX100" fmla="*/ 231639 w 932942"/>
                <a:gd name="connsiteY100" fmla="*/ 157974 h 305729"/>
                <a:gd name="connsiteX101" fmla="*/ 243136 w 932942"/>
                <a:gd name="connsiteY101" fmla="*/ 157974 h 305729"/>
                <a:gd name="connsiteX102" fmla="*/ 243136 w 932942"/>
                <a:gd name="connsiteY102" fmla="*/ 301045 h 305729"/>
                <a:gd name="connsiteX103" fmla="*/ 277200 w 932942"/>
                <a:gd name="connsiteY103" fmla="*/ 301045 h 305729"/>
                <a:gd name="connsiteX104" fmla="*/ 277200 w 932942"/>
                <a:gd name="connsiteY104" fmla="*/ 158400 h 305729"/>
                <a:gd name="connsiteX105" fmla="*/ 302323 w 932942"/>
                <a:gd name="connsiteY105" fmla="*/ 158400 h 305729"/>
                <a:gd name="connsiteX106" fmla="*/ 308710 w 932942"/>
                <a:gd name="connsiteY106" fmla="*/ 129019 h 305729"/>
                <a:gd name="connsiteX107" fmla="*/ 277626 w 932942"/>
                <a:gd name="connsiteY107" fmla="*/ 129019 h 305729"/>
                <a:gd name="connsiteX108" fmla="*/ 277626 w 932942"/>
                <a:gd name="connsiteY108" fmla="*/ 102619 h 305729"/>
                <a:gd name="connsiteX109" fmla="*/ 290826 w 932942"/>
                <a:gd name="connsiteY109" fmla="*/ 81755 h 305729"/>
                <a:gd name="connsiteX110" fmla="*/ 334258 w 932942"/>
                <a:gd name="connsiteY110" fmla="*/ 301471 h 305729"/>
                <a:gd name="connsiteX111" fmla="*/ 367897 w 932942"/>
                <a:gd name="connsiteY111" fmla="*/ 301471 h 305729"/>
                <a:gd name="connsiteX112" fmla="*/ 367897 w 932942"/>
                <a:gd name="connsiteY112" fmla="*/ 126039 h 305729"/>
                <a:gd name="connsiteX113" fmla="*/ 334258 w 932942"/>
                <a:gd name="connsiteY113" fmla="*/ 130297 h 305729"/>
                <a:gd name="connsiteX114" fmla="*/ 334258 w 932942"/>
                <a:gd name="connsiteY114" fmla="*/ 301471 h 305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</a:cxnLst>
              <a:rect l="l" t="t" r="r" b="b"/>
              <a:pathLst>
                <a:path w="932942" h="305729">
                  <a:moveTo>
                    <a:pt x="740052" y="305729"/>
                  </a:moveTo>
                  <a:cubicBezTo>
                    <a:pt x="785188" y="305729"/>
                    <a:pt x="799239" y="258039"/>
                    <a:pt x="799239" y="214181"/>
                  </a:cubicBezTo>
                  <a:cubicBezTo>
                    <a:pt x="799239" y="155419"/>
                    <a:pt x="774542" y="124761"/>
                    <a:pt x="740052" y="124761"/>
                  </a:cubicBezTo>
                  <a:cubicBezTo>
                    <a:pt x="696620" y="124761"/>
                    <a:pt x="681291" y="172452"/>
                    <a:pt x="681717" y="215032"/>
                  </a:cubicBezTo>
                  <a:cubicBezTo>
                    <a:pt x="682142" y="257187"/>
                    <a:pt x="694065" y="305729"/>
                    <a:pt x="740052" y="305729"/>
                  </a:cubicBezTo>
                  <a:close/>
                  <a:moveTo>
                    <a:pt x="717910" y="213755"/>
                  </a:moveTo>
                  <a:cubicBezTo>
                    <a:pt x="717910" y="196297"/>
                    <a:pt x="717910" y="155419"/>
                    <a:pt x="740052" y="155419"/>
                  </a:cubicBezTo>
                  <a:cubicBezTo>
                    <a:pt x="763897" y="155419"/>
                    <a:pt x="763046" y="195871"/>
                    <a:pt x="763046" y="214606"/>
                  </a:cubicBezTo>
                  <a:cubicBezTo>
                    <a:pt x="763046" y="232490"/>
                    <a:pt x="763046" y="275923"/>
                    <a:pt x="740904" y="275923"/>
                  </a:cubicBezTo>
                  <a:cubicBezTo>
                    <a:pt x="717059" y="275497"/>
                    <a:pt x="717910" y="232065"/>
                    <a:pt x="717910" y="213755"/>
                  </a:cubicBezTo>
                  <a:close/>
                  <a:moveTo>
                    <a:pt x="608904" y="305729"/>
                  </a:moveTo>
                  <a:cubicBezTo>
                    <a:pt x="627213" y="305729"/>
                    <a:pt x="642968" y="298490"/>
                    <a:pt x="657871" y="282735"/>
                  </a:cubicBezTo>
                  <a:lnTo>
                    <a:pt x="644671" y="258039"/>
                  </a:lnTo>
                  <a:cubicBezTo>
                    <a:pt x="634452" y="269110"/>
                    <a:pt x="624233" y="275071"/>
                    <a:pt x="611884" y="275071"/>
                  </a:cubicBezTo>
                  <a:cubicBezTo>
                    <a:pt x="601665" y="275071"/>
                    <a:pt x="593149" y="269110"/>
                    <a:pt x="588039" y="258890"/>
                  </a:cubicBezTo>
                  <a:cubicBezTo>
                    <a:pt x="583781" y="249948"/>
                    <a:pt x="582929" y="239729"/>
                    <a:pt x="582929" y="228658"/>
                  </a:cubicBezTo>
                  <a:lnTo>
                    <a:pt x="582929" y="225252"/>
                  </a:lnTo>
                  <a:lnTo>
                    <a:pt x="659575" y="225252"/>
                  </a:lnTo>
                  <a:lnTo>
                    <a:pt x="659575" y="217587"/>
                  </a:lnTo>
                  <a:cubicBezTo>
                    <a:pt x="659575" y="179690"/>
                    <a:pt x="654891" y="158826"/>
                    <a:pt x="642968" y="143071"/>
                  </a:cubicBezTo>
                  <a:cubicBezTo>
                    <a:pt x="634026" y="131148"/>
                    <a:pt x="620826" y="124761"/>
                    <a:pt x="604645" y="124761"/>
                  </a:cubicBezTo>
                  <a:cubicBezTo>
                    <a:pt x="587613" y="124761"/>
                    <a:pt x="573562" y="132426"/>
                    <a:pt x="563342" y="147329"/>
                  </a:cubicBezTo>
                  <a:cubicBezTo>
                    <a:pt x="552271" y="163510"/>
                    <a:pt x="547587" y="185226"/>
                    <a:pt x="547587" y="215032"/>
                  </a:cubicBezTo>
                  <a:cubicBezTo>
                    <a:pt x="547162" y="272090"/>
                    <a:pt x="569729" y="305729"/>
                    <a:pt x="608904" y="305729"/>
                  </a:cubicBezTo>
                  <a:close/>
                  <a:moveTo>
                    <a:pt x="605071" y="152865"/>
                  </a:moveTo>
                  <a:cubicBezTo>
                    <a:pt x="613587" y="152865"/>
                    <a:pt x="618697" y="157548"/>
                    <a:pt x="622104" y="165213"/>
                  </a:cubicBezTo>
                  <a:cubicBezTo>
                    <a:pt x="624658" y="172026"/>
                    <a:pt x="625936" y="183523"/>
                    <a:pt x="625936" y="197148"/>
                  </a:cubicBezTo>
                  <a:lnTo>
                    <a:pt x="582929" y="197148"/>
                  </a:lnTo>
                  <a:cubicBezTo>
                    <a:pt x="583355" y="166916"/>
                    <a:pt x="589742" y="152865"/>
                    <a:pt x="605071" y="152865"/>
                  </a:cubicBezTo>
                  <a:close/>
                  <a:moveTo>
                    <a:pt x="827342" y="301471"/>
                  </a:moveTo>
                  <a:lnTo>
                    <a:pt x="860555" y="301471"/>
                  </a:lnTo>
                  <a:lnTo>
                    <a:pt x="860555" y="173729"/>
                  </a:lnTo>
                  <a:cubicBezTo>
                    <a:pt x="868646" y="163935"/>
                    <a:pt x="878013" y="158400"/>
                    <a:pt x="884826" y="158400"/>
                  </a:cubicBezTo>
                  <a:cubicBezTo>
                    <a:pt x="889084" y="158400"/>
                    <a:pt x="893342" y="159252"/>
                    <a:pt x="895897" y="162658"/>
                  </a:cubicBezTo>
                  <a:cubicBezTo>
                    <a:pt x="898452" y="166490"/>
                    <a:pt x="899730" y="172026"/>
                    <a:pt x="899730" y="185226"/>
                  </a:cubicBezTo>
                  <a:lnTo>
                    <a:pt x="899730" y="301471"/>
                  </a:lnTo>
                  <a:lnTo>
                    <a:pt x="932942" y="301471"/>
                  </a:lnTo>
                  <a:lnTo>
                    <a:pt x="932942" y="169897"/>
                  </a:lnTo>
                  <a:cubicBezTo>
                    <a:pt x="932942" y="158400"/>
                    <a:pt x="931665" y="146903"/>
                    <a:pt x="924852" y="138387"/>
                  </a:cubicBezTo>
                  <a:cubicBezTo>
                    <a:pt x="918891" y="130723"/>
                    <a:pt x="909523" y="126039"/>
                    <a:pt x="897601" y="126039"/>
                  </a:cubicBezTo>
                  <a:cubicBezTo>
                    <a:pt x="882272" y="126039"/>
                    <a:pt x="866517" y="134981"/>
                    <a:pt x="858000" y="145200"/>
                  </a:cubicBezTo>
                  <a:cubicBezTo>
                    <a:pt x="857575" y="136258"/>
                    <a:pt x="854594" y="127742"/>
                    <a:pt x="853742" y="124761"/>
                  </a:cubicBezTo>
                  <a:lnTo>
                    <a:pt x="822659" y="132852"/>
                  </a:lnTo>
                  <a:cubicBezTo>
                    <a:pt x="824362" y="142219"/>
                    <a:pt x="826917" y="153716"/>
                    <a:pt x="826917" y="174581"/>
                  </a:cubicBezTo>
                  <a:lnTo>
                    <a:pt x="826917" y="301471"/>
                  </a:lnTo>
                  <a:close/>
                  <a:moveTo>
                    <a:pt x="441562" y="145200"/>
                  </a:moveTo>
                  <a:cubicBezTo>
                    <a:pt x="441136" y="136258"/>
                    <a:pt x="438155" y="127742"/>
                    <a:pt x="437304" y="124761"/>
                  </a:cubicBezTo>
                  <a:lnTo>
                    <a:pt x="406220" y="132852"/>
                  </a:lnTo>
                  <a:cubicBezTo>
                    <a:pt x="407923" y="142219"/>
                    <a:pt x="410478" y="153716"/>
                    <a:pt x="410478" y="174581"/>
                  </a:cubicBezTo>
                  <a:lnTo>
                    <a:pt x="410478" y="301045"/>
                  </a:lnTo>
                  <a:lnTo>
                    <a:pt x="443691" y="301045"/>
                  </a:lnTo>
                  <a:lnTo>
                    <a:pt x="443691" y="173303"/>
                  </a:lnTo>
                  <a:cubicBezTo>
                    <a:pt x="451781" y="163510"/>
                    <a:pt x="461149" y="157974"/>
                    <a:pt x="467962" y="157974"/>
                  </a:cubicBezTo>
                  <a:cubicBezTo>
                    <a:pt x="472220" y="157974"/>
                    <a:pt x="476478" y="158826"/>
                    <a:pt x="479033" y="162232"/>
                  </a:cubicBezTo>
                  <a:cubicBezTo>
                    <a:pt x="481587" y="166065"/>
                    <a:pt x="482865" y="171600"/>
                    <a:pt x="482865" y="184800"/>
                  </a:cubicBezTo>
                  <a:lnTo>
                    <a:pt x="482865" y="301045"/>
                  </a:lnTo>
                  <a:lnTo>
                    <a:pt x="516078" y="301045"/>
                  </a:lnTo>
                  <a:lnTo>
                    <a:pt x="516078" y="169897"/>
                  </a:lnTo>
                  <a:cubicBezTo>
                    <a:pt x="516078" y="158400"/>
                    <a:pt x="514800" y="146903"/>
                    <a:pt x="507987" y="138387"/>
                  </a:cubicBezTo>
                  <a:cubicBezTo>
                    <a:pt x="502026" y="130723"/>
                    <a:pt x="492658" y="126039"/>
                    <a:pt x="480736" y="126039"/>
                  </a:cubicBezTo>
                  <a:cubicBezTo>
                    <a:pt x="465833" y="126039"/>
                    <a:pt x="450078" y="134981"/>
                    <a:pt x="441562" y="145200"/>
                  </a:cubicBezTo>
                  <a:close/>
                  <a:moveTo>
                    <a:pt x="35342" y="70684"/>
                  </a:moveTo>
                  <a:cubicBezTo>
                    <a:pt x="54929" y="70684"/>
                    <a:pt x="70684" y="54929"/>
                    <a:pt x="70684" y="35342"/>
                  </a:cubicBezTo>
                  <a:cubicBezTo>
                    <a:pt x="70684" y="15755"/>
                    <a:pt x="54929" y="0"/>
                    <a:pt x="35342" y="0"/>
                  </a:cubicBezTo>
                  <a:cubicBezTo>
                    <a:pt x="15755" y="0"/>
                    <a:pt x="0" y="15755"/>
                    <a:pt x="0" y="35342"/>
                  </a:cubicBezTo>
                  <a:cubicBezTo>
                    <a:pt x="0" y="54929"/>
                    <a:pt x="15755" y="70684"/>
                    <a:pt x="35342" y="70684"/>
                  </a:cubicBezTo>
                  <a:close/>
                  <a:moveTo>
                    <a:pt x="198426" y="301471"/>
                  </a:moveTo>
                  <a:lnTo>
                    <a:pt x="198426" y="169897"/>
                  </a:lnTo>
                  <a:cubicBezTo>
                    <a:pt x="198426" y="158400"/>
                    <a:pt x="197148" y="146903"/>
                    <a:pt x="190336" y="138387"/>
                  </a:cubicBezTo>
                  <a:cubicBezTo>
                    <a:pt x="184374" y="130723"/>
                    <a:pt x="175007" y="126039"/>
                    <a:pt x="163084" y="126039"/>
                  </a:cubicBezTo>
                  <a:cubicBezTo>
                    <a:pt x="147755" y="126039"/>
                    <a:pt x="132000" y="134981"/>
                    <a:pt x="123484" y="145200"/>
                  </a:cubicBezTo>
                  <a:cubicBezTo>
                    <a:pt x="123058" y="136258"/>
                    <a:pt x="120077" y="127742"/>
                    <a:pt x="119226" y="124761"/>
                  </a:cubicBezTo>
                  <a:lnTo>
                    <a:pt x="88568" y="133277"/>
                  </a:lnTo>
                  <a:cubicBezTo>
                    <a:pt x="90271" y="142645"/>
                    <a:pt x="92826" y="154142"/>
                    <a:pt x="92826" y="175006"/>
                  </a:cubicBezTo>
                  <a:lnTo>
                    <a:pt x="92826" y="301471"/>
                  </a:lnTo>
                  <a:lnTo>
                    <a:pt x="126039" y="301471"/>
                  </a:lnTo>
                  <a:lnTo>
                    <a:pt x="126039" y="173729"/>
                  </a:lnTo>
                  <a:cubicBezTo>
                    <a:pt x="134129" y="163935"/>
                    <a:pt x="143497" y="158400"/>
                    <a:pt x="150310" y="158400"/>
                  </a:cubicBezTo>
                  <a:cubicBezTo>
                    <a:pt x="154568" y="158400"/>
                    <a:pt x="158826" y="159252"/>
                    <a:pt x="161381" y="162658"/>
                  </a:cubicBezTo>
                  <a:cubicBezTo>
                    <a:pt x="163936" y="166490"/>
                    <a:pt x="165213" y="172026"/>
                    <a:pt x="165213" y="185226"/>
                  </a:cubicBezTo>
                  <a:lnTo>
                    <a:pt x="165213" y="301471"/>
                  </a:lnTo>
                  <a:lnTo>
                    <a:pt x="198426" y="301471"/>
                  </a:lnTo>
                  <a:close/>
                  <a:moveTo>
                    <a:pt x="351291" y="61316"/>
                  </a:moveTo>
                  <a:cubicBezTo>
                    <a:pt x="338942" y="61316"/>
                    <a:pt x="329149" y="71110"/>
                    <a:pt x="329149" y="83458"/>
                  </a:cubicBezTo>
                  <a:cubicBezTo>
                    <a:pt x="329149" y="95806"/>
                    <a:pt x="338942" y="105600"/>
                    <a:pt x="350865" y="105600"/>
                  </a:cubicBezTo>
                  <a:cubicBezTo>
                    <a:pt x="363213" y="105600"/>
                    <a:pt x="373007" y="95806"/>
                    <a:pt x="373007" y="83458"/>
                  </a:cubicBezTo>
                  <a:cubicBezTo>
                    <a:pt x="373007" y="71110"/>
                    <a:pt x="363213" y="61316"/>
                    <a:pt x="351291" y="61316"/>
                  </a:cubicBezTo>
                  <a:close/>
                  <a:moveTo>
                    <a:pt x="19587" y="301471"/>
                  </a:moveTo>
                  <a:lnTo>
                    <a:pt x="52800" y="301471"/>
                  </a:lnTo>
                  <a:lnTo>
                    <a:pt x="52800" y="94103"/>
                  </a:lnTo>
                  <a:lnTo>
                    <a:pt x="19587" y="98361"/>
                  </a:lnTo>
                  <a:lnTo>
                    <a:pt x="19587" y="301471"/>
                  </a:lnTo>
                  <a:close/>
                  <a:moveTo>
                    <a:pt x="290826" y="81755"/>
                  </a:moveTo>
                  <a:cubicBezTo>
                    <a:pt x="296787" y="81755"/>
                    <a:pt x="302749" y="83884"/>
                    <a:pt x="306581" y="86865"/>
                  </a:cubicBezTo>
                  <a:lnTo>
                    <a:pt x="315949" y="60890"/>
                  </a:lnTo>
                  <a:cubicBezTo>
                    <a:pt x="307007" y="54503"/>
                    <a:pt x="297213" y="51523"/>
                    <a:pt x="284865" y="51523"/>
                  </a:cubicBezTo>
                  <a:cubicBezTo>
                    <a:pt x="276349" y="51523"/>
                    <a:pt x="267407" y="53652"/>
                    <a:pt x="259316" y="60039"/>
                  </a:cubicBezTo>
                  <a:cubicBezTo>
                    <a:pt x="251226" y="66852"/>
                    <a:pt x="242710" y="80477"/>
                    <a:pt x="242710" y="106026"/>
                  </a:cubicBezTo>
                  <a:cubicBezTo>
                    <a:pt x="242710" y="117097"/>
                    <a:pt x="243136" y="128594"/>
                    <a:pt x="243136" y="128594"/>
                  </a:cubicBezTo>
                  <a:lnTo>
                    <a:pt x="231639" y="128594"/>
                  </a:lnTo>
                  <a:lnTo>
                    <a:pt x="231639" y="157974"/>
                  </a:lnTo>
                  <a:lnTo>
                    <a:pt x="243136" y="157974"/>
                  </a:lnTo>
                  <a:lnTo>
                    <a:pt x="243136" y="301045"/>
                  </a:lnTo>
                  <a:lnTo>
                    <a:pt x="277200" y="301045"/>
                  </a:lnTo>
                  <a:lnTo>
                    <a:pt x="277200" y="158400"/>
                  </a:lnTo>
                  <a:lnTo>
                    <a:pt x="302323" y="158400"/>
                  </a:lnTo>
                  <a:lnTo>
                    <a:pt x="308710" y="129019"/>
                  </a:lnTo>
                  <a:lnTo>
                    <a:pt x="277626" y="129019"/>
                  </a:lnTo>
                  <a:lnTo>
                    <a:pt x="277626" y="102619"/>
                  </a:lnTo>
                  <a:cubicBezTo>
                    <a:pt x="277626" y="89845"/>
                    <a:pt x="282736" y="81755"/>
                    <a:pt x="290826" y="81755"/>
                  </a:cubicBezTo>
                  <a:close/>
                  <a:moveTo>
                    <a:pt x="334258" y="301471"/>
                  </a:moveTo>
                  <a:lnTo>
                    <a:pt x="367897" y="301471"/>
                  </a:lnTo>
                  <a:lnTo>
                    <a:pt x="367897" y="126039"/>
                  </a:lnTo>
                  <a:lnTo>
                    <a:pt x="334258" y="130297"/>
                  </a:lnTo>
                  <a:lnTo>
                    <a:pt x="334258" y="301471"/>
                  </a:lnTo>
                  <a:close/>
                </a:path>
              </a:pathLst>
            </a:custGeom>
            <a:solidFill>
              <a:schemeClr val="bg1"/>
            </a:solidFill>
            <a:ln w="42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noProof="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CBC56F93-8A43-59C7-177B-978B93271C93}"/>
                </a:ext>
              </a:extLst>
            </p:cNvPr>
            <p:cNvSpPr/>
            <p:nvPr/>
          </p:nvSpPr>
          <p:spPr>
            <a:xfrm>
              <a:off x="10659752" y="193689"/>
              <a:ext cx="1206736" cy="528057"/>
            </a:xfrm>
            <a:custGeom>
              <a:avLst/>
              <a:gdLst>
                <a:gd name="connsiteX0" fmla="*/ 1024065 w 1206736"/>
                <a:gd name="connsiteY0" fmla="*/ 444872 h 528057"/>
                <a:gd name="connsiteX1" fmla="*/ 641265 w 1206736"/>
                <a:gd name="connsiteY1" fmla="*/ 492562 h 528057"/>
                <a:gd name="connsiteX2" fmla="*/ 67703 w 1206736"/>
                <a:gd name="connsiteY2" fmla="*/ 261349 h 528057"/>
                <a:gd name="connsiteX3" fmla="*/ 165639 w 1206736"/>
                <a:gd name="connsiteY3" fmla="*/ 122962 h 528057"/>
                <a:gd name="connsiteX4" fmla="*/ 146478 w 1206736"/>
                <a:gd name="connsiteY4" fmla="*/ 85491 h 528057"/>
                <a:gd name="connsiteX5" fmla="*/ 0 w 1206736"/>
                <a:gd name="connsiteY5" fmla="*/ 265181 h 528057"/>
                <a:gd name="connsiteX6" fmla="*/ 644671 w 1206736"/>
                <a:gd name="connsiteY6" fmla="*/ 527904 h 528057"/>
                <a:gd name="connsiteX7" fmla="*/ 992130 w 1206736"/>
                <a:gd name="connsiteY7" fmla="*/ 473826 h 528057"/>
                <a:gd name="connsiteX8" fmla="*/ 1206736 w 1206736"/>
                <a:gd name="connsiteY8" fmla="*/ 353749 h 528057"/>
                <a:gd name="connsiteX9" fmla="*/ 1024065 w 1206736"/>
                <a:gd name="connsiteY9" fmla="*/ 444872 h 528057"/>
                <a:gd name="connsiteX10" fmla="*/ 309136 w 1206736"/>
                <a:gd name="connsiteY10" fmla="*/ 58239 h 528057"/>
                <a:gd name="connsiteX11" fmla="*/ 363639 w 1206736"/>
                <a:gd name="connsiteY11" fmla="*/ 40781 h 528057"/>
                <a:gd name="connsiteX12" fmla="*/ 645097 w 1206736"/>
                <a:gd name="connsiteY12" fmla="*/ 2459 h 528057"/>
                <a:gd name="connsiteX13" fmla="*/ 356826 w 1206736"/>
                <a:gd name="connsiteY13" fmla="*/ 17788 h 528057"/>
                <a:gd name="connsiteX14" fmla="*/ 298490 w 1206736"/>
                <a:gd name="connsiteY14" fmla="*/ 30136 h 528057"/>
                <a:gd name="connsiteX15" fmla="*/ 275071 w 1206736"/>
                <a:gd name="connsiteY15" fmla="*/ 36523 h 528057"/>
                <a:gd name="connsiteX16" fmla="*/ 253781 w 1206736"/>
                <a:gd name="connsiteY16" fmla="*/ 42484 h 528057"/>
                <a:gd name="connsiteX17" fmla="*/ 228232 w 1206736"/>
                <a:gd name="connsiteY17" fmla="*/ 51001 h 528057"/>
                <a:gd name="connsiteX18" fmla="*/ 242284 w 1206736"/>
                <a:gd name="connsiteY18" fmla="*/ 83362 h 528057"/>
                <a:gd name="connsiteX19" fmla="*/ 309136 w 1206736"/>
                <a:gd name="connsiteY19" fmla="*/ 58239 h 528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06736" h="528057">
                  <a:moveTo>
                    <a:pt x="1024065" y="444872"/>
                  </a:moveTo>
                  <a:cubicBezTo>
                    <a:pt x="911652" y="478085"/>
                    <a:pt x="774968" y="492562"/>
                    <a:pt x="641265" y="492562"/>
                  </a:cubicBezTo>
                  <a:cubicBezTo>
                    <a:pt x="301897" y="492562"/>
                    <a:pt x="83032" y="392923"/>
                    <a:pt x="67703" y="261349"/>
                  </a:cubicBezTo>
                  <a:cubicBezTo>
                    <a:pt x="62168" y="211955"/>
                    <a:pt x="100916" y="163839"/>
                    <a:pt x="165639" y="122962"/>
                  </a:cubicBezTo>
                  <a:cubicBezTo>
                    <a:pt x="154142" y="114446"/>
                    <a:pt x="146903" y="100820"/>
                    <a:pt x="146478" y="85491"/>
                  </a:cubicBezTo>
                  <a:cubicBezTo>
                    <a:pt x="52800" y="134885"/>
                    <a:pt x="0" y="199607"/>
                    <a:pt x="0" y="265181"/>
                  </a:cubicBezTo>
                  <a:cubicBezTo>
                    <a:pt x="0" y="410381"/>
                    <a:pt x="259316" y="533014"/>
                    <a:pt x="644671" y="527904"/>
                  </a:cubicBezTo>
                  <a:cubicBezTo>
                    <a:pt x="778800" y="526201"/>
                    <a:pt x="890788" y="507039"/>
                    <a:pt x="992130" y="473826"/>
                  </a:cubicBezTo>
                  <a:cubicBezTo>
                    <a:pt x="1112633" y="434652"/>
                    <a:pt x="1188427" y="378446"/>
                    <a:pt x="1206736" y="353749"/>
                  </a:cubicBezTo>
                  <a:cubicBezTo>
                    <a:pt x="1185020" y="373336"/>
                    <a:pt x="1133498" y="412510"/>
                    <a:pt x="1024065" y="444872"/>
                  </a:cubicBezTo>
                  <a:close/>
                  <a:moveTo>
                    <a:pt x="309136" y="58239"/>
                  </a:moveTo>
                  <a:cubicBezTo>
                    <a:pt x="331703" y="50575"/>
                    <a:pt x="363639" y="40781"/>
                    <a:pt x="363639" y="40781"/>
                  </a:cubicBezTo>
                  <a:cubicBezTo>
                    <a:pt x="453484" y="16084"/>
                    <a:pt x="552697" y="1607"/>
                    <a:pt x="645097" y="2459"/>
                  </a:cubicBezTo>
                  <a:cubicBezTo>
                    <a:pt x="538645" y="-3928"/>
                    <a:pt x="441562" y="2459"/>
                    <a:pt x="356826" y="17788"/>
                  </a:cubicBezTo>
                  <a:cubicBezTo>
                    <a:pt x="356826" y="17788"/>
                    <a:pt x="328723" y="22472"/>
                    <a:pt x="298490" y="30136"/>
                  </a:cubicBezTo>
                  <a:cubicBezTo>
                    <a:pt x="298490" y="30136"/>
                    <a:pt x="284013" y="33968"/>
                    <a:pt x="275071" y="36523"/>
                  </a:cubicBezTo>
                  <a:cubicBezTo>
                    <a:pt x="266129" y="39078"/>
                    <a:pt x="253781" y="42484"/>
                    <a:pt x="253781" y="42484"/>
                  </a:cubicBezTo>
                  <a:cubicBezTo>
                    <a:pt x="245265" y="45039"/>
                    <a:pt x="236749" y="48020"/>
                    <a:pt x="228232" y="51001"/>
                  </a:cubicBezTo>
                  <a:cubicBezTo>
                    <a:pt x="236749" y="59517"/>
                    <a:pt x="241858" y="70588"/>
                    <a:pt x="242284" y="83362"/>
                  </a:cubicBezTo>
                  <a:cubicBezTo>
                    <a:pt x="257187" y="76549"/>
                    <a:pt x="285716" y="66330"/>
                    <a:pt x="309136" y="58239"/>
                  </a:cubicBezTo>
                  <a:close/>
                </a:path>
              </a:pathLst>
            </a:custGeom>
            <a:solidFill>
              <a:schemeClr val="bg1"/>
            </a:solidFill>
            <a:ln w="42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noProof="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4647271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5337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1344">
          <p15:clr>
            <a:srgbClr val="FBAE40"/>
          </p15:clr>
        </p15:guide>
        <p15:guide id="4" orient="horz" pos="1774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8B1B7AE2-264A-4900-9F60-CC5615C90F03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F2DD26D5-8427-4844-992F-AA5F995450F6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879A7BCC-64D2-4276-855E-685546620EF5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B8FD1BFA-BD00-4A1A-9BEE-984BDA7A138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empower_footer_placeholder">
            <a:extLst>
              <a:ext uri="{FF2B5EF4-FFF2-40B4-BE49-F238E27FC236}">
                <a16:creationId xmlns:a16="http://schemas.microsoft.com/office/drawing/2014/main" id="{C0C951CC-CB9B-43AC-8395-FB2751814E0F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0FDEE340-AE14-4EB2-8F0B-840A5F5E2FB9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4" name="empower_classification_placeholder">
            <a:extLst>
              <a:ext uri="{FF2B5EF4-FFF2-40B4-BE49-F238E27FC236}">
                <a16:creationId xmlns:a16="http://schemas.microsoft.com/office/drawing/2014/main" id="{3F4900C8-0A39-4B02-8E0A-398AAC4831BF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6" name="empower_date_placeholder">
            <a:extLst>
              <a:ext uri="{FF2B5EF4-FFF2-40B4-BE49-F238E27FC236}">
                <a16:creationId xmlns:a16="http://schemas.microsoft.com/office/drawing/2014/main" id="{A1158698-11CA-4310-AAEA-81BFB74C7A4D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</a:p>
        </p:txBody>
      </p:sp>
      <p:sp>
        <p:nvSpPr>
          <p:cNvPr id="7" name="Content Top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2"/>
            <a:ext cx="5688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Top Right"/>
          <p:cNvSpPr>
            <a:spLocks noGrp="1"/>
          </p:cNvSpPr>
          <p:nvPr>
            <p:ph sz="quarter" idx="14" hasCustomPrompt="1"/>
          </p:nvPr>
        </p:nvSpPr>
        <p:spPr>
          <a:xfrm>
            <a:off x="6166799" y="1268412"/>
            <a:ext cx="5688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Bottom Left"/>
          <p:cNvSpPr>
            <a:spLocks noGrp="1"/>
          </p:cNvSpPr>
          <p:nvPr>
            <p:ph sz="quarter" idx="15" hasCustomPrompt="1"/>
          </p:nvPr>
        </p:nvSpPr>
        <p:spPr>
          <a:xfrm>
            <a:off x="334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ontent Bottom Right"/>
          <p:cNvSpPr>
            <a:spLocks noGrp="1"/>
          </p:cNvSpPr>
          <p:nvPr>
            <p:ph sz="quarter" idx="16" hasCustomPrompt="1"/>
          </p:nvPr>
        </p:nvSpPr>
        <p:spPr>
          <a:xfrm>
            <a:off x="6166799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4034893-5E9F-45A3-8C16-98C9F6C02B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4ED1F400-5A94-4F05-84F8-53C80E7C434C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17C8E721-6FC1-4A4E-9559-945024071571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89885E48-72F6-4042-BF62-A49ACDF10504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0242B527-F278-4C5E-9E24-C19CDFEB73B1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C4E976BE-C7DE-4FCF-9535-07568046A13E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795">
          <p15:clr>
            <a:srgbClr val="FBAE40"/>
          </p15:clr>
        </p15:guide>
        <p15:guide id="2" pos="211">
          <p15:clr>
            <a:srgbClr val="FBAE40"/>
          </p15:clr>
        </p15:guide>
        <p15:guide id="3" pos="3885">
          <p15:clr>
            <a:srgbClr val="FBAE40"/>
          </p15:clr>
        </p15:guide>
        <p15:guide id="4" pos="7469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4020">
          <p15:clr>
            <a:srgbClr val="FBAE40"/>
          </p15:clr>
        </p15:guide>
        <p15:guide id="7" orient="horz" pos="2273">
          <p15:clr>
            <a:srgbClr val="FBAE40"/>
          </p15:clr>
        </p15:guide>
        <p15:guide id="8" orient="horz" pos="2432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" hidden="1">
            <a:extLst>
              <a:ext uri="{FF2B5EF4-FFF2-40B4-BE49-F238E27FC236}">
                <a16:creationId xmlns:a16="http://schemas.microsoft.com/office/drawing/2014/main" id="{372AE43B-8F10-43C8-8785-1E1CB85CFADE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20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rgbClr val="928285"/>
              </a:buClr>
              <a:defRPr sz="100" b="0">
                <a:noFill/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7" name="Footer Placeholder" hidden="1">
            <a:extLst>
              <a:ext uri="{FF2B5EF4-FFF2-40B4-BE49-F238E27FC236}">
                <a16:creationId xmlns:a16="http://schemas.microsoft.com/office/drawing/2014/main" id="{4D268FD3-4056-49DC-8C79-D4C201EED65B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21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chemeClr val="accent2"/>
              </a:buClr>
              <a:defRPr sz="100" b="0">
                <a:noFill/>
                <a:latin typeface="+mn-lt"/>
                <a:ea typeface="+mn-ea"/>
              </a:defRPr>
            </a:lvl1pPr>
          </a:lstStyle>
          <a:p>
            <a:endParaRPr lang="en-US" dirty="0"/>
          </a:p>
        </p:txBody>
      </p:sp>
      <p:sp>
        <p:nvSpPr>
          <p:cNvPr id="6" name="Date Placeholder" hidden="1">
            <a:extLst>
              <a:ext uri="{FF2B5EF4-FFF2-40B4-BE49-F238E27FC236}">
                <a16:creationId xmlns:a16="http://schemas.microsoft.com/office/drawing/2014/main" id="{59032602-9911-40B1-9BF6-AFD731868C06}"/>
              </a:ext>
            </a:extLst>
          </p:cNvPr>
          <p:cNvSpPr>
            <a:spLocks noGrp="1"/>
          </p:cNvSpPr>
          <p:nvPr>
            <p:ph type="dt" sz="half" idx="2"/>
            <p:custDataLst>
              <p:tags r:id="rId22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chemeClr val="accent2"/>
              </a:buClr>
              <a:defRPr sz="100" b="0">
                <a:noFill/>
                <a:latin typeface="+mn-lt"/>
                <a:ea typeface="+mn-ea"/>
              </a:defRPr>
            </a:lvl1pPr>
          </a:lstStyle>
          <a:p>
            <a:endParaRPr lang="en-US" b="1" dirty="0"/>
          </a:p>
        </p:txBody>
      </p:sp>
      <p:sp>
        <p:nvSpPr>
          <p:cNvPr id="15" name="Title"/>
          <p:cNvSpPr>
            <a:spLocks noGrp="1"/>
          </p:cNvSpPr>
          <p:nvPr>
            <p:ph type="title"/>
          </p:nvPr>
        </p:nvSpPr>
        <p:spPr>
          <a:xfrm>
            <a:off x="335360" y="188720"/>
            <a:ext cx="9613068" cy="720000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/>
          <a:p>
            <a:r>
              <a:rPr lang="en-US" noProof="0" dirty="0"/>
              <a:t>Click to edit title</a:t>
            </a:r>
          </a:p>
        </p:txBody>
      </p:sp>
      <p:sp>
        <p:nvSpPr>
          <p:cNvPr id="16" name="Content"/>
          <p:cNvSpPr>
            <a:spLocks noGrp="1"/>
          </p:cNvSpPr>
          <p:nvPr>
            <p:ph type="body" idx="1"/>
          </p:nvPr>
        </p:nvSpPr>
        <p:spPr>
          <a:xfrm>
            <a:off x="334434" y="1268414"/>
            <a:ext cx="11521017" cy="51133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grpSp>
        <p:nvGrpSpPr>
          <p:cNvPr id="2" name="LOGO">
            <a:extLst>
              <a:ext uri="{FF2B5EF4-FFF2-40B4-BE49-F238E27FC236}">
                <a16:creationId xmlns:a16="http://schemas.microsoft.com/office/drawing/2014/main" id="{09F6C2B3-52AF-4C87-8DA7-D88B6BD510D6}"/>
              </a:ext>
            </a:extLst>
          </p:cNvPr>
          <p:cNvGrpSpPr/>
          <p:nvPr/>
        </p:nvGrpSpPr>
        <p:grpSpPr>
          <a:xfrm>
            <a:off x="10659752" y="193689"/>
            <a:ext cx="1206736" cy="528057"/>
            <a:chOff x="10659752" y="193689"/>
            <a:chExt cx="1206736" cy="528057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B481A94B-AD7D-4E10-A0F1-8388E7B440B1}"/>
                </a:ext>
              </a:extLst>
            </p:cNvPr>
            <p:cNvSpPr/>
            <p:nvPr/>
          </p:nvSpPr>
          <p:spPr>
            <a:xfrm>
              <a:off x="10819003" y="243412"/>
              <a:ext cx="932942" cy="305729"/>
            </a:xfrm>
            <a:custGeom>
              <a:avLst/>
              <a:gdLst>
                <a:gd name="connsiteX0" fmla="*/ 740052 w 932942"/>
                <a:gd name="connsiteY0" fmla="*/ 305729 h 305729"/>
                <a:gd name="connsiteX1" fmla="*/ 799239 w 932942"/>
                <a:gd name="connsiteY1" fmla="*/ 214181 h 305729"/>
                <a:gd name="connsiteX2" fmla="*/ 740052 w 932942"/>
                <a:gd name="connsiteY2" fmla="*/ 124761 h 305729"/>
                <a:gd name="connsiteX3" fmla="*/ 681717 w 932942"/>
                <a:gd name="connsiteY3" fmla="*/ 215032 h 305729"/>
                <a:gd name="connsiteX4" fmla="*/ 740052 w 932942"/>
                <a:gd name="connsiteY4" fmla="*/ 305729 h 305729"/>
                <a:gd name="connsiteX5" fmla="*/ 717910 w 932942"/>
                <a:gd name="connsiteY5" fmla="*/ 213755 h 305729"/>
                <a:gd name="connsiteX6" fmla="*/ 740052 w 932942"/>
                <a:gd name="connsiteY6" fmla="*/ 155419 h 305729"/>
                <a:gd name="connsiteX7" fmla="*/ 763046 w 932942"/>
                <a:gd name="connsiteY7" fmla="*/ 214606 h 305729"/>
                <a:gd name="connsiteX8" fmla="*/ 740904 w 932942"/>
                <a:gd name="connsiteY8" fmla="*/ 275923 h 305729"/>
                <a:gd name="connsiteX9" fmla="*/ 717910 w 932942"/>
                <a:gd name="connsiteY9" fmla="*/ 213755 h 305729"/>
                <a:gd name="connsiteX10" fmla="*/ 608904 w 932942"/>
                <a:gd name="connsiteY10" fmla="*/ 305729 h 305729"/>
                <a:gd name="connsiteX11" fmla="*/ 657871 w 932942"/>
                <a:gd name="connsiteY11" fmla="*/ 282735 h 305729"/>
                <a:gd name="connsiteX12" fmla="*/ 644671 w 932942"/>
                <a:gd name="connsiteY12" fmla="*/ 258039 h 305729"/>
                <a:gd name="connsiteX13" fmla="*/ 611884 w 932942"/>
                <a:gd name="connsiteY13" fmla="*/ 275071 h 305729"/>
                <a:gd name="connsiteX14" fmla="*/ 588039 w 932942"/>
                <a:gd name="connsiteY14" fmla="*/ 258890 h 305729"/>
                <a:gd name="connsiteX15" fmla="*/ 582929 w 932942"/>
                <a:gd name="connsiteY15" fmla="*/ 228658 h 305729"/>
                <a:gd name="connsiteX16" fmla="*/ 582929 w 932942"/>
                <a:gd name="connsiteY16" fmla="*/ 225252 h 305729"/>
                <a:gd name="connsiteX17" fmla="*/ 659575 w 932942"/>
                <a:gd name="connsiteY17" fmla="*/ 225252 h 305729"/>
                <a:gd name="connsiteX18" fmla="*/ 659575 w 932942"/>
                <a:gd name="connsiteY18" fmla="*/ 217587 h 305729"/>
                <a:gd name="connsiteX19" fmla="*/ 642968 w 932942"/>
                <a:gd name="connsiteY19" fmla="*/ 143071 h 305729"/>
                <a:gd name="connsiteX20" fmla="*/ 604645 w 932942"/>
                <a:gd name="connsiteY20" fmla="*/ 124761 h 305729"/>
                <a:gd name="connsiteX21" fmla="*/ 563342 w 932942"/>
                <a:gd name="connsiteY21" fmla="*/ 147329 h 305729"/>
                <a:gd name="connsiteX22" fmla="*/ 547587 w 932942"/>
                <a:gd name="connsiteY22" fmla="*/ 215032 h 305729"/>
                <a:gd name="connsiteX23" fmla="*/ 608904 w 932942"/>
                <a:gd name="connsiteY23" fmla="*/ 305729 h 305729"/>
                <a:gd name="connsiteX24" fmla="*/ 605071 w 932942"/>
                <a:gd name="connsiteY24" fmla="*/ 152865 h 305729"/>
                <a:gd name="connsiteX25" fmla="*/ 622104 w 932942"/>
                <a:gd name="connsiteY25" fmla="*/ 165213 h 305729"/>
                <a:gd name="connsiteX26" fmla="*/ 625936 w 932942"/>
                <a:gd name="connsiteY26" fmla="*/ 197148 h 305729"/>
                <a:gd name="connsiteX27" fmla="*/ 582929 w 932942"/>
                <a:gd name="connsiteY27" fmla="*/ 197148 h 305729"/>
                <a:gd name="connsiteX28" fmla="*/ 605071 w 932942"/>
                <a:gd name="connsiteY28" fmla="*/ 152865 h 305729"/>
                <a:gd name="connsiteX29" fmla="*/ 827342 w 932942"/>
                <a:gd name="connsiteY29" fmla="*/ 301471 h 305729"/>
                <a:gd name="connsiteX30" fmla="*/ 860555 w 932942"/>
                <a:gd name="connsiteY30" fmla="*/ 301471 h 305729"/>
                <a:gd name="connsiteX31" fmla="*/ 860555 w 932942"/>
                <a:gd name="connsiteY31" fmla="*/ 173729 h 305729"/>
                <a:gd name="connsiteX32" fmla="*/ 884826 w 932942"/>
                <a:gd name="connsiteY32" fmla="*/ 158400 h 305729"/>
                <a:gd name="connsiteX33" fmla="*/ 895897 w 932942"/>
                <a:gd name="connsiteY33" fmla="*/ 162658 h 305729"/>
                <a:gd name="connsiteX34" fmla="*/ 899730 w 932942"/>
                <a:gd name="connsiteY34" fmla="*/ 185226 h 305729"/>
                <a:gd name="connsiteX35" fmla="*/ 899730 w 932942"/>
                <a:gd name="connsiteY35" fmla="*/ 301471 h 305729"/>
                <a:gd name="connsiteX36" fmla="*/ 932942 w 932942"/>
                <a:gd name="connsiteY36" fmla="*/ 301471 h 305729"/>
                <a:gd name="connsiteX37" fmla="*/ 932942 w 932942"/>
                <a:gd name="connsiteY37" fmla="*/ 169897 h 305729"/>
                <a:gd name="connsiteX38" fmla="*/ 924852 w 932942"/>
                <a:gd name="connsiteY38" fmla="*/ 138387 h 305729"/>
                <a:gd name="connsiteX39" fmla="*/ 897601 w 932942"/>
                <a:gd name="connsiteY39" fmla="*/ 126039 h 305729"/>
                <a:gd name="connsiteX40" fmla="*/ 858000 w 932942"/>
                <a:gd name="connsiteY40" fmla="*/ 145200 h 305729"/>
                <a:gd name="connsiteX41" fmla="*/ 853742 w 932942"/>
                <a:gd name="connsiteY41" fmla="*/ 124761 h 305729"/>
                <a:gd name="connsiteX42" fmla="*/ 822659 w 932942"/>
                <a:gd name="connsiteY42" fmla="*/ 132852 h 305729"/>
                <a:gd name="connsiteX43" fmla="*/ 826917 w 932942"/>
                <a:gd name="connsiteY43" fmla="*/ 174581 h 305729"/>
                <a:gd name="connsiteX44" fmla="*/ 826917 w 932942"/>
                <a:gd name="connsiteY44" fmla="*/ 301471 h 305729"/>
                <a:gd name="connsiteX45" fmla="*/ 441562 w 932942"/>
                <a:gd name="connsiteY45" fmla="*/ 145200 h 305729"/>
                <a:gd name="connsiteX46" fmla="*/ 437304 w 932942"/>
                <a:gd name="connsiteY46" fmla="*/ 124761 h 305729"/>
                <a:gd name="connsiteX47" fmla="*/ 406220 w 932942"/>
                <a:gd name="connsiteY47" fmla="*/ 132852 h 305729"/>
                <a:gd name="connsiteX48" fmla="*/ 410478 w 932942"/>
                <a:gd name="connsiteY48" fmla="*/ 174581 h 305729"/>
                <a:gd name="connsiteX49" fmla="*/ 410478 w 932942"/>
                <a:gd name="connsiteY49" fmla="*/ 301045 h 305729"/>
                <a:gd name="connsiteX50" fmla="*/ 443691 w 932942"/>
                <a:gd name="connsiteY50" fmla="*/ 301045 h 305729"/>
                <a:gd name="connsiteX51" fmla="*/ 443691 w 932942"/>
                <a:gd name="connsiteY51" fmla="*/ 173303 h 305729"/>
                <a:gd name="connsiteX52" fmla="*/ 467962 w 932942"/>
                <a:gd name="connsiteY52" fmla="*/ 157974 h 305729"/>
                <a:gd name="connsiteX53" fmla="*/ 479033 w 932942"/>
                <a:gd name="connsiteY53" fmla="*/ 162232 h 305729"/>
                <a:gd name="connsiteX54" fmla="*/ 482865 w 932942"/>
                <a:gd name="connsiteY54" fmla="*/ 184800 h 305729"/>
                <a:gd name="connsiteX55" fmla="*/ 482865 w 932942"/>
                <a:gd name="connsiteY55" fmla="*/ 301045 h 305729"/>
                <a:gd name="connsiteX56" fmla="*/ 516078 w 932942"/>
                <a:gd name="connsiteY56" fmla="*/ 301045 h 305729"/>
                <a:gd name="connsiteX57" fmla="*/ 516078 w 932942"/>
                <a:gd name="connsiteY57" fmla="*/ 169897 h 305729"/>
                <a:gd name="connsiteX58" fmla="*/ 507987 w 932942"/>
                <a:gd name="connsiteY58" fmla="*/ 138387 h 305729"/>
                <a:gd name="connsiteX59" fmla="*/ 480736 w 932942"/>
                <a:gd name="connsiteY59" fmla="*/ 126039 h 305729"/>
                <a:gd name="connsiteX60" fmla="*/ 441562 w 932942"/>
                <a:gd name="connsiteY60" fmla="*/ 145200 h 305729"/>
                <a:gd name="connsiteX61" fmla="*/ 35342 w 932942"/>
                <a:gd name="connsiteY61" fmla="*/ 70684 h 305729"/>
                <a:gd name="connsiteX62" fmla="*/ 70684 w 932942"/>
                <a:gd name="connsiteY62" fmla="*/ 35342 h 305729"/>
                <a:gd name="connsiteX63" fmla="*/ 35342 w 932942"/>
                <a:gd name="connsiteY63" fmla="*/ 0 h 305729"/>
                <a:gd name="connsiteX64" fmla="*/ 0 w 932942"/>
                <a:gd name="connsiteY64" fmla="*/ 35342 h 305729"/>
                <a:gd name="connsiteX65" fmla="*/ 35342 w 932942"/>
                <a:gd name="connsiteY65" fmla="*/ 70684 h 305729"/>
                <a:gd name="connsiteX66" fmla="*/ 198426 w 932942"/>
                <a:gd name="connsiteY66" fmla="*/ 301471 h 305729"/>
                <a:gd name="connsiteX67" fmla="*/ 198426 w 932942"/>
                <a:gd name="connsiteY67" fmla="*/ 169897 h 305729"/>
                <a:gd name="connsiteX68" fmla="*/ 190336 w 932942"/>
                <a:gd name="connsiteY68" fmla="*/ 138387 h 305729"/>
                <a:gd name="connsiteX69" fmla="*/ 163084 w 932942"/>
                <a:gd name="connsiteY69" fmla="*/ 126039 h 305729"/>
                <a:gd name="connsiteX70" fmla="*/ 123484 w 932942"/>
                <a:gd name="connsiteY70" fmla="*/ 145200 h 305729"/>
                <a:gd name="connsiteX71" fmla="*/ 119226 w 932942"/>
                <a:gd name="connsiteY71" fmla="*/ 124761 h 305729"/>
                <a:gd name="connsiteX72" fmla="*/ 88568 w 932942"/>
                <a:gd name="connsiteY72" fmla="*/ 133277 h 305729"/>
                <a:gd name="connsiteX73" fmla="*/ 92826 w 932942"/>
                <a:gd name="connsiteY73" fmla="*/ 175006 h 305729"/>
                <a:gd name="connsiteX74" fmla="*/ 92826 w 932942"/>
                <a:gd name="connsiteY74" fmla="*/ 301471 h 305729"/>
                <a:gd name="connsiteX75" fmla="*/ 126039 w 932942"/>
                <a:gd name="connsiteY75" fmla="*/ 301471 h 305729"/>
                <a:gd name="connsiteX76" fmla="*/ 126039 w 932942"/>
                <a:gd name="connsiteY76" fmla="*/ 173729 h 305729"/>
                <a:gd name="connsiteX77" fmla="*/ 150310 w 932942"/>
                <a:gd name="connsiteY77" fmla="*/ 158400 h 305729"/>
                <a:gd name="connsiteX78" fmla="*/ 161381 w 932942"/>
                <a:gd name="connsiteY78" fmla="*/ 162658 h 305729"/>
                <a:gd name="connsiteX79" fmla="*/ 165213 w 932942"/>
                <a:gd name="connsiteY79" fmla="*/ 185226 h 305729"/>
                <a:gd name="connsiteX80" fmla="*/ 165213 w 932942"/>
                <a:gd name="connsiteY80" fmla="*/ 301471 h 305729"/>
                <a:gd name="connsiteX81" fmla="*/ 198426 w 932942"/>
                <a:gd name="connsiteY81" fmla="*/ 301471 h 305729"/>
                <a:gd name="connsiteX82" fmla="*/ 351291 w 932942"/>
                <a:gd name="connsiteY82" fmla="*/ 61316 h 305729"/>
                <a:gd name="connsiteX83" fmla="*/ 329149 w 932942"/>
                <a:gd name="connsiteY83" fmla="*/ 83458 h 305729"/>
                <a:gd name="connsiteX84" fmla="*/ 350865 w 932942"/>
                <a:gd name="connsiteY84" fmla="*/ 105600 h 305729"/>
                <a:gd name="connsiteX85" fmla="*/ 373007 w 932942"/>
                <a:gd name="connsiteY85" fmla="*/ 83458 h 305729"/>
                <a:gd name="connsiteX86" fmla="*/ 351291 w 932942"/>
                <a:gd name="connsiteY86" fmla="*/ 61316 h 305729"/>
                <a:gd name="connsiteX87" fmla="*/ 19587 w 932942"/>
                <a:gd name="connsiteY87" fmla="*/ 301471 h 305729"/>
                <a:gd name="connsiteX88" fmla="*/ 52800 w 932942"/>
                <a:gd name="connsiteY88" fmla="*/ 301471 h 305729"/>
                <a:gd name="connsiteX89" fmla="*/ 52800 w 932942"/>
                <a:gd name="connsiteY89" fmla="*/ 94103 h 305729"/>
                <a:gd name="connsiteX90" fmla="*/ 19587 w 932942"/>
                <a:gd name="connsiteY90" fmla="*/ 98361 h 305729"/>
                <a:gd name="connsiteX91" fmla="*/ 19587 w 932942"/>
                <a:gd name="connsiteY91" fmla="*/ 301471 h 305729"/>
                <a:gd name="connsiteX92" fmla="*/ 290826 w 932942"/>
                <a:gd name="connsiteY92" fmla="*/ 81755 h 305729"/>
                <a:gd name="connsiteX93" fmla="*/ 306581 w 932942"/>
                <a:gd name="connsiteY93" fmla="*/ 86865 h 305729"/>
                <a:gd name="connsiteX94" fmla="*/ 315949 w 932942"/>
                <a:gd name="connsiteY94" fmla="*/ 60890 h 305729"/>
                <a:gd name="connsiteX95" fmla="*/ 284865 w 932942"/>
                <a:gd name="connsiteY95" fmla="*/ 51523 h 305729"/>
                <a:gd name="connsiteX96" fmla="*/ 259316 w 932942"/>
                <a:gd name="connsiteY96" fmla="*/ 60039 h 305729"/>
                <a:gd name="connsiteX97" fmla="*/ 242710 w 932942"/>
                <a:gd name="connsiteY97" fmla="*/ 106026 h 305729"/>
                <a:gd name="connsiteX98" fmla="*/ 243136 w 932942"/>
                <a:gd name="connsiteY98" fmla="*/ 128594 h 305729"/>
                <a:gd name="connsiteX99" fmla="*/ 231639 w 932942"/>
                <a:gd name="connsiteY99" fmla="*/ 128594 h 305729"/>
                <a:gd name="connsiteX100" fmla="*/ 231639 w 932942"/>
                <a:gd name="connsiteY100" fmla="*/ 157974 h 305729"/>
                <a:gd name="connsiteX101" fmla="*/ 243136 w 932942"/>
                <a:gd name="connsiteY101" fmla="*/ 157974 h 305729"/>
                <a:gd name="connsiteX102" fmla="*/ 243136 w 932942"/>
                <a:gd name="connsiteY102" fmla="*/ 301045 h 305729"/>
                <a:gd name="connsiteX103" fmla="*/ 277200 w 932942"/>
                <a:gd name="connsiteY103" fmla="*/ 301045 h 305729"/>
                <a:gd name="connsiteX104" fmla="*/ 277200 w 932942"/>
                <a:gd name="connsiteY104" fmla="*/ 158400 h 305729"/>
                <a:gd name="connsiteX105" fmla="*/ 302323 w 932942"/>
                <a:gd name="connsiteY105" fmla="*/ 158400 h 305729"/>
                <a:gd name="connsiteX106" fmla="*/ 308710 w 932942"/>
                <a:gd name="connsiteY106" fmla="*/ 129019 h 305729"/>
                <a:gd name="connsiteX107" fmla="*/ 277626 w 932942"/>
                <a:gd name="connsiteY107" fmla="*/ 129019 h 305729"/>
                <a:gd name="connsiteX108" fmla="*/ 277626 w 932942"/>
                <a:gd name="connsiteY108" fmla="*/ 102619 h 305729"/>
                <a:gd name="connsiteX109" fmla="*/ 290826 w 932942"/>
                <a:gd name="connsiteY109" fmla="*/ 81755 h 305729"/>
                <a:gd name="connsiteX110" fmla="*/ 334258 w 932942"/>
                <a:gd name="connsiteY110" fmla="*/ 301471 h 305729"/>
                <a:gd name="connsiteX111" fmla="*/ 367897 w 932942"/>
                <a:gd name="connsiteY111" fmla="*/ 301471 h 305729"/>
                <a:gd name="connsiteX112" fmla="*/ 367897 w 932942"/>
                <a:gd name="connsiteY112" fmla="*/ 126039 h 305729"/>
                <a:gd name="connsiteX113" fmla="*/ 334258 w 932942"/>
                <a:gd name="connsiteY113" fmla="*/ 130297 h 305729"/>
                <a:gd name="connsiteX114" fmla="*/ 334258 w 932942"/>
                <a:gd name="connsiteY114" fmla="*/ 301471 h 305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</a:cxnLst>
              <a:rect l="l" t="t" r="r" b="b"/>
              <a:pathLst>
                <a:path w="932942" h="305729">
                  <a:moveTo>
                    <a:pt x="740052" y="305729"/>
                  </a:moveTo>
                  <a:cubicBezTo>
                    <a:pt x="785188" y="305729"/>
                    <a:pt x="799239" y="258039"/>
                    <a:pt x="799239" y="214181"/>
                  </a:cubicBezTo>
                  <a:cubicBezTo>
                    <a:pt x="799239" y="155419"/>
                    <a:pt x="774542" y="124761"/>
                    <a:pt x="740052" y="124761"/>
                  </a:cubicBezTo>
                  <a:cubicBezTo>
                    <a:pt x="696620" y="124761"/>
                    <a:pt x="681291" y="172452"/>
                    <a:pt x="681717" y="215032"/>
                  </a:cubicBezTo>
                  <a:cubicBezTo>
                    <a:pt x="682142" y="257187"/>
                    <a:pt x="694065" y="305729"/>
                    <a:pt x="740052" y="305729"/>
                  </a:cubicBezTo>
                  <a:close/>
                  <a:moveTo>
                    <a:pt x="717910" y="213755"/>
                  </a:moveTo>
                  <a:cubicBezTo>
                    <a:pt x="717910" y="196297"/>
                    <a:pt x="717910" y="155419"/>
                    <a:pt x="740052" y="155419"/>
                  </a:cubicBezTo>
                  <a:cubicBezTo>
                    <a:pt x="763897" y="155419"/>
                    <a:pt x="763046" y="195871"/>
                    <a:pt x="763046" y="214606"/>
                  </a:cubicBezTo>
                  <a:cubicBezTo>
                    <a:pt x="763046" y="232490"/>
                    <a:pt x="763046" y="275923"/>
                    <a:pt x="740904" y="275923"/>
                  </a:cubicBezTo>
                  <a:cubicBezTo>
                    <a:pt x="717059" y="275497"/>
                    <a:pt x="717910" y="232065"/>
                    <a:pt x="717910" y="213755"/>
                  </a:cubicBezTo>
                  <a:close/>
                  <a:moveTo>
                    <a:pt x="608904" y="305729"/>
                  </a:moveTo>
                  <a:cubicBezTo>
                    <a:pt x="627213" y="305729"/>
                    <a:pt x="642968" y="298490"/>
                    <a:pt x="657871" y="282735"/>
                  </a:cubicBezTo>
                  <a:lnTo>
                    <a:pt x="644671" y="258039"/>
                  </a:lnTo>
                  <a:cubicBezTo>
                    <a:pt x="634452" y="269110"/>
                    <a:pt x="624233" y="275071"/>
                    <a:pt x="611884" y="275071"/>
                  </a:cubicBezTo>
                  <a:cubicBezTo>
                    <a:pt x="601665" y="275071"/>
                    <a:pt x="593149" y="269110"/>
                    <a:pt x="588039" y="258890"/>
                  </a:cubicBezTo>
                  <a:cubicBezTo>
                    <a:pt x="583781" y="249948"/>
                    <a:pt x="582929" y="239729"/>
                    <a:pt x="582929" y="228658"/>
                  </a:cubicBezTo>
                  <a:lnTo>
                    <a:pt x="582929" y="225252"/>
                  </a:lnTo>
                  <a:lnTo>
                    <a:pt x="659575" y="225252"/>
                  </a:lnTo>
                  <a:lnTo>
                    <a:pt x="659575" y="217587"/>
                  </a:lnTo>
                  <a:cubicBezTo>
                    <a:pt x="659575" y="179690"/>
                    <a:pt x="654891" y="158826"/>
                    <a:pt x="642968" y="143071"/>
                  </a:cubicBezTo>
                  <a:cubicBezTo>
                    <a:pt x="634026" y="131148"/>
                    <a:pt x="620826" y="124761"/>
                    <a:pt x="604645" y="124761"/>
                  </a:cubicBezTo>
                  <a:cubicBezTo>
                    <a:pt x="587613" y="124761"/>
                    <a:pt x="573562" y="132426"/>
                    <a:pt x="563342" y="147329"/>
                  </a:cubicBezTo>
                  <a:cubicBezTo>
                    <a:pt x="552271" y="163510"/>
                    <a:pt x="547587" y="185226"/>
                    <a:pt x="547587" y="215032"/>
                  </a:cubicBezTo>
                  <a:cubicBezTo>
                    <a:pt x="547162" y="272090"/>
                    <a:pt x="569729" y="305729"/>
                    <a:pt x="608904" y="305729"/>
                  </a:cubicBezTo>
                  <a:close/>
                  <a:moveTo>
                    <a:pt x="605071" y="152865"/>
                  </a:moveTo>
                  <a:cubicBezTo>
                    <a:pt x="613587" y="152865"/>
                    <a:pt x="618697" y="157548"/>
                    <a:pt x="622104" y="165213"/>
                  </a:cubicBezTo>
                  <a:cubicBezTo>
                    <a:pt x="624658" y="172026"/>
                    <a:pt x="625936" y="183523"/>
                    <a:pt x="625936" y="197148"/>
                  </a:cubicBezTo>
                  <a:lnTo>
                    <a:pt x="582929" y="197148"/>
                  </a:lnTo>
                  <a:cubicBezTo>
                    <a:pt x="583355" y="166916"/>
                    <a:pt x="589742" y="152865"/>
                    <a:pt x="605071" y="152865"/>
                  </a:cubicBezTo>
                  <a:close/>
                  <a:moveTo>
                    <a:pt x="827342" y="301471"/>
                  </a:moveTo>
                  <a:lnTo>
                    <a:pt x="860555" y="301471"/>
                  </a:lnTo>
                  <a:lnTo>
                    <a:pt x="860555" y="173729"/>
                  </a:lnTo>
                  <a:cubicBezTo>
                    <a:pt x="868646" y="163935"/>
                    <a:pt x="878013" y="158400"/>
                    <a:pt x="884826" y="158400"/>
                  </a:cubicBezTo>
                  <a:cubicBezTo>
                    <a:pt x="889084" y="158400"/>
                    <a:pt x="893342" y="159252"/>
                    <a:pt x="895897" y="162658"/>
                  </a:cubicBezTo>
                  <a:cubicBezTo>
                    <a:pt x="898452" y="166490"/>
                    <a:pt x="899730" y="172026"/>
                    <a:pt x="899730" y="185226"/>
                  </a:cubicBezTo>
                  <a:lnTo>
                    <a:pt x="899730" y="301471"/>
                  </a:lnTo>
                  <a:lnTo>
                    <a:pt x="932942" y="301471"/>
                  </a:lnTo>
                  <a:lnTo>
                    <a:pt x="932942" y="169897"/>
                  </a:lnTo>
                  <a:cubicBezTo>
                    <a:pt x="932942" y="158400"/>
                    <a:pt x="931665" y="146903"/>
                    <a:pt x="924852" y="138387"/>
                  </a:cubicBezTo>
                  <a:cubicBezTo>
                    <a:pt x="918891" y="130723"/>
                    <a:pt x="909523" y="126039"/>
                    <a:pt x="897601" y="126039"/>
                  </a:cubicBezTo>
                  <a:cubicBezTo>
                    <a:pt x="882272" y="126039"/>
                    <a:pt x="866517" y="134981"/>
                    <a:pt x="858000" y="145200"/>
                  </a:cubicBezTo>
                  <a:cubicBezTo>
                    <a:pt x="857575" y="136258"/>
                    <a:pt x="854594" y="127742"/>
                    <a:pt x="853742" y="124761"/>
                  </a:cubicBezTo>
                  <a:lnTo>
                    <a:pt x="822659" y="132852"/>
                  </a:lnTo>
                  <a:cubicBezTo>
                    <a:pt x="824362" y="142219"/>
                    <a:pt x="826917" y="153716"/>
                    <a:pt x="826917" y="174581"/>
                  </a:cubicBezTo>
                  <a:lnTo>
                    <a:pt x="826917" y="301471"/>
                  </a:lnTo>
                  <a:close/>
                  <a:moveTo>
                    <a:pt x="441562" y="145200"/>
                  </a:moveTo>
                  <a:cubicBezTo>
                    <a:pt x="441136" y="136258"/>
                    <a:pt x="438155" y="127742"/>
                    <a:pt x="437304" y="124761"/>
                  </a:cubicBezTo>
                  <a:lnTo>
                    <a:pt x="406220" y="132852"/>
                  </a:lnTo>
                  <a:cubicBezTo>
                    <a:pt x="407923" y="142219"/>
                    <a:pt x="410478" y="153716"/>
                    <a:pt x="410478" y="174581"/>
                  </a:cubicBezTo>
                  <a:lnTo>
                    <a:pt x="410478" y="301045"/>
                  </a:lnTo>
                  <a:lnTo>
                    <a:pt x="443691" y="301045"/>
                  </a:lnTo>
                  <a:lnTo>
                    <a:pt x="443691" y="173303"/>
                  </a:lnTo>
                  <a:cubicBezTo>
                    <a:pt x="451781" y="163510"/>
                    <a:pt x="461149" y="157974"/>
                    <a:pt x="467962" y="157974"/>
                  </a:cubicBezTo>
                  <a:cubicBezTo>
                    <a:pt x="472220" y="157974"/>
                    <a:pt x="476478" y="158826"/>
                    <a:pt x="479033" y="162232"/>
                  </a:cubicBezTo>
                  <a:cubicBezTo>
                    <a:pt x="481587" y="166065"/>
                    <a:pt x="482865" y="171600"/>
                    <a:pt x="482865" y="184800"/>
                  </a:cubicBezTo>
                  <a:lnTo>
                    <a:pt x="482865" y="301045"/>
                  </a:lnTo>
                  <a:lnTo>
                    <a:pt x="516078" y="301045"/>
                  </a:lnTo>
                  <a:lnTo>
                    <a:pt x="516078" y="169897"/>
                  </a:lnTo>
                  <a:cubicBezTo>
                    <a:pt x="516078" y="158400"/>
                    <a:pt x="514800" y="146903"/>
                    <a:pt x="507987" y="138387"/>
                  </a:cubicBezTo>
                  <a:cubicBezTo>
                    <a:pt x="502026" y="130723"/>
                    <a:pt x="492658" y="126039"/>
                    <a:pt x="480736" y="126039"/>
                  </a:cubicBezTo>
                  <a:cubicBezTo>
                    <a:pt x="465833" y="126039"/>
                    <a:pt x="450078" y="134981"/>
                    <a:pt x="441562" y="145200"/>
                  </a:cubicBezTo>
                  <a:close/>
                  <a:moveTo>
                    <a:pt x="35342" y="70684"/>
                  </a:moveTo>
                  <a:cubicBezTo>
                    <a:pt x="54929" y="70684"/>
                    <a:pt x="70684" y="54929"/>
                    <a:pt x="70684" y="35342"/>
                  </a:cubicBezTo>
                  <a:cubicBezTo>
                    <a:pt x="70684" y="15755"/>
                    <a:pt x="54929" y="0"/>
                    <a:pt x="35342" y="0"/>
                  </a:cubicBezTo>
                  <a:cubicBezTo>
                    <a:pt x="15755" y="0"/>
                    <a:pt x="0" y="15755"/>
                    <a:pt x="0" y="35342"/>
                  </a:cubicBezTo>
                  <a:cubicBezTo>
                    <a:pt x="0" y="54929"/>
                    <a:pt x="15755" y="70684"/>
                    <a:pt x="35342" y="70684"/>
                  </a:cubicBezTo>
                  <a:close/>
                  <a:moveTo>
                    <a:pt x="198426" y="301471"/>
                  </a:moveTo>
                  <a:lnTo>
                    <a:pt x="198426" y="169897"/>
                  </a:lnTo>
                  <a:cubicBezTo>
                    <a:pt x="198426" y="158400"/>
                    <a:pt x="197148" y="146903"/>
                    <a:pt x="190336" y="138387"/>
                  </a:cubicBezTo>
                  <a:cubicBezTo>
                    <a:pt x="184374" y="130723"/>
                    <a:pt x="175007" y="126039"/>
                    <a:pt x="163084" y="126039"/>
                  </a:cubicBezTo>
                  <a:cubicBezTo>
                    <a:pt x="147755" y="126039"/>
                    <a:pt x="132000" y="134981"/>
                    <a:pt x="123484" y="145200"/>
                  </a:cubicBezTo>
                  <a:cubicBezTo>
                    <a:pt x="123058" y="136258"/>
                    <a:pt x="120077" y="127742"/>
                    <a:pt x="119226" y="124761"/>
                  </a:cubicBezTo>
                  <a:lnTo>
                    <a:pt x="88568" y="133277"/>
                  </a:lnTo>
                  <a:cubicBezTo>
                    <a:pt x="90271" y="142645"/>
                    <a:pt x="92826" y="154142"/>
                    <a:pt x="92826" y="175006"/>
                  </a:cubicBezTo>
                  <a:lnTo>
                    <a:pt x="92826" y="301471"/>
                  </a:lnTo>
                  <a:lnTo>
                    <a:pt x="126039" y="301471"/>
                  </a:lnTo>
                  <a:lnTo>
                    <a:pt x="126039" y="173729"/>
                  </a:lnTo>
                  <a:cubicBezTo>
                    <a:pt x="134129" y="163935"/>
                    <a:pt x="143497" y="158400"/>
                    <a:pt x="150310" y="158400"/>
                  </a:cubicBezTo>
                  <a:cubicBezTo>
                    <a:pt x="154568" y="158400"/>
                    <a:pt x="158826" y="159252"/>
                    <a:pt x="161381" y="162658"/>
                  </a:cubicBezTo>
                  <a:cubicBezTo>
                    <a:pt x="163936" y="166490"/>
                    <a:pt x="165213" y="172026"/>
                    <a:pt x="165213" y="185226"/>
                  </a:cubicBezTo>
                  <a:lnTo>
                    <a:pt x="165213" y="301471"/>
                  </a:lnTo>
                  <a:lnTo>
                    <a:pt x="198426" y="301471"/>
                  </a:lnTo>
                  <a:close/>
                  <a:moveTo>
                    <a:pt x="351291" y="61316"/>
                  </a:moveTo>
                  <a:cubicBezTo>
                    <a:pt x="338942" y="61316"/>
                    <a:pt x="329149" y="71110"/>
                    <a:pt x="329149" y="83458"/>
                  </a:cubicBezTo>
                  <a:cubicBezTo>
                    <a:pt x="329149" y="95806"/>
                    <a:pt x="338942" y="105600"/>
                    <a:pt x="350865" y="105600"/>
                  </a:cubicBezTo>
                  <a:cubicBezTo>
                    <a:pt x="363213" y="105600"/>
                    <a:pt x="373007" y="95806"/>
                    <a:pt x="373007" y="83458"/>
                  </a:cubicBezTo>
                  <a:cubicBezTo>
                    <a:pt x="373007" y="71110"/>
                    <a:pt x="363213" y="61316"/>
                    <a:pt x="351291" y="61316"/>
                  </a:cubicBezTo>
                  <a:close/>
                  <a:moveTo>
                    <a:pt x="19587" y="301471"/>
                  </a:moveTo>
                  <a:lnTo>
                    <a:pt x="52800" y="301471"/>
                  </a:lnTo>
                  <a:lnTo>
                    <a:pt x="52800" y="94103"/>
                  </a:lnTo>
                  <a:lnTo>
                    <a:pt x="19587" y="98361"/>
                  </a:lnTo>
                  <a:lnTo>
                    <a:pt x="19587" y="301471"/>
                  </a:lnTo>
                  <a:close/>
                  <a:moveTo>
                    <a:pt x="290826" y="81755"/>
                  </a:moveTo>
                  <a:cubicBezTo>
                    <a:pt x="296787" y="81755"/>
                    <a:pt x="302749" y="83884"/>
                    <a:pt x="306581" y="86865"/>
                  </a:cubicBezTo>
                  <a:lnTo>
                    <a:pt x="315949" y="60890"/>
                  </a:lnTo>
                  <a:cubicBezTo>
                    <a:pt x="307007" y="54503"/>
                    <a:pt x="297213" y="51523"/>
                    <a:pt x="284865" y="51523"/>
                  </a:cubicBezTo>
                  <a:cubicBezTo>
                    <a:pt x="276349" y="51523"/>
                    <a:pt x="267407" y="53652"/>
                    <a:pt x="259316" y="60039"/>
                  </a:cubicBezTo>
                  <a:cubicBezTo>
                    <a:pt x="251226" y="66852"/>
                    <a:pt x="242710" y="80477"/>
                    <a:pt x="242710" y="106026"/>
                  </a:cubicBezTo>
                  <a:cubicBezTo>
                    <a:pt x="242710" y="117097"/>
                    <a:pt x="243136" y="128594"/>
                    <a:pt x="243136" y="128594"/>
                  </a:cubicBezTo>
                  <a:lnTo>
                    <a:pt x="231639" y="128594"/>
                  </a:lnTo>
                  <a:lnTo>
                    <a:pt x="231639" y="157974"/>
                  </a:lnTo>
                  <a:lnTo>
                    <a:pt x="243136" y="157974"/>
                  </a:lnTo>
                  <a:lnTo>
                    <a:pt x="243136" y="301045"/>
                  </a:lnTo>
                  <a:lnTo>
                    <a:pt x="277200" y="301045"/>
                  </a:lnTo>
                  <a:lnTo>
                    <a:pt x="277200" y="158400"/>
                  </a:lnTo>
                  <a:lnTo>
                    <a:pt x="302323" y="158400"/>
                  </a:lnTo>
                  <a:lnTo>
                    <a:pt x="308710" y="129019"/>
                  </a:lnTo>
                  <a:lnTo>
                    <a:pt x="277626" y="129019"/>
                  </a:lnTo>
                  <a:lnTo>
                    <a:pt x="277626" y="102619"/>
                  </a:lnTo>
                  <a:cubicBezTo>
                    <a:pt x="277626" y="89845"/>
                    <a:pt x="282736" y="81755"/>
                    <a:pt x="290826" y="81755"/>
                  </a:cubicBezTo>
                  <a:close/>
                  <a:moveTo>
                    <a:pt x="334258" y="301471"/>
                  </a:moveTo>
                  <a:lnTo>
                    <a:pt x="367897" y="301471"/>
                  </a:lnTo>
                  <a:lnTo>
                    <a:pt x="367897" y="126039"/>
                  </a:lnTo>
                  <a:lnTo>
                    <a:pt x="334258" y="130297"/>
                  </a:lnTo>
                  <a:lnTo>
                    <a:pt x="334258" y="301471"/>
                  </a:lnTo>
                  <a:close/>
                </a:path>
              </a:pathLst>
            </a:custGeom>
            <a:solidFill>
              <a:srgbClr val="005DA9"/>
            </a:solidFill>
            <a:ln w="42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noProof="0" dirty="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AB3DFC8B-687C-41DA-A4C3-866145B61F3A}"/>
                </a:ext>
              </a:extLst>
            </p:cNvPr>
            <p:cNvSpPr/>
            <p:nvPr/>
          </p:nvSpPr>
          <p:spPr>
            <a:xfrm>
              <a:off x="10659752" y="193689"/>
              <a:ext cx="1206736" cy="528057"/>
            </a:xfrm>
            <a:custGeom>
              <a:avLst/>
              <a:gdLst>
                <a:gd name="connsiteX0" fmla="*/ 1024065 w 1206736"/>
                <a:gd name="connsiteY0" fmla="*/ 444872 h 528057"/>
                <a:gd name="connsiteX1" fmla="*/ 641265 w 1206736"/>
                <a:gd name="connsiteY1" fmla="*/ 492562 h 528057"/>
                <a:gd name="connsiteX2" fmla="*/ 67703 w 1206736"/>
                <a:gd name="connsiteY2" fmla="*/ 261349 h 528057"/>
                <a:gd name="connsiteX3" fmla="*/ 165639 w 1206736"/>
                <a:gd name="connsiteY3" fmla="*/ 122962 h 528057"/>
                <a:gd name="connsiteX4" fmla="*/ 146478 w 1206736"/>
                <a:gd name="connsiteY4" fmla="*/ 85491 h 528057"/>
                <a:gd name="connsiteX5" fmla="*/ 0 w 1206736"/>
                <a:gd name="connsiteY5" fmla="*/ 265181 h 528057"/>
                <a:gd name="connsiteX6" fmla="*/ 644671 w 1206736"/>
                <a:gd name="connsiteY6" fmla="*/ 527904 h 528057"/>
                <a:gd name="connsiteX7" fmla="*/ 992130 w 1206736"/>
                <a:gd name="connsiteY7" fmla="*/ 473826 h 528057"/>
                <a:gd name="connsiteX8" fmla="*/ 1206736 w 1206736"/>
                <a:gd name="connsiteY8" fmla="*/ 353749 h 528057"/>
                <a:gd name="connsiteX9" fmla="*/ 1024065 w 1206736"/>
                <a:gd name="connsiteY9" fmla="*/ 444872 h 528057"/>
                <a:gd name="connsiteX10" fmla="*/ 309136 w 1206736"/>
                <a:gd name="connsiteY10" fmla="*/ 58239 h 528057"/>
                <a:gd name="connsiteX11" fmla="*/ 363639 w 1206736"/>
                <a:gd name="connsiteY11" fmla="*/ 40781 h 528057"/>
                <a:gd name="connsiteX12" fmla="*/ 645097 w 1206736"/>
                <a:gd name="connsiteY12" fmla="*/ 2459 h 528057"/>
                <a:gd name="connsiteX13" fmla="*/ 356826 w 1206736"/>
                <a:gd name="connsiteY13" fmla="*/ 17788 h 528057"/>
                <a:gd name="connsiteX14" fmla="*/ 298490 w 1206736"/>
                <a:gd name="connsiteY14" fmla="*/ 30136 h 528057"/>
                <a:gd name="connsiteX15" fmla="*/ 275071 w 1206736"/>
                <a:gd name="connsiteY15" fmla="*/ 36523 h 528057"/>
                <a:gd name="connsiteX16" fmla="*/ 253781 w 1206736"/>
                <a:gd name="connsiteY16" fmla="*/ 42484 h 528057"/>
                <a:gd name="connsiteX17" fmla="*/ 228232 w 1206736"/>
                <a:gd name="connsiteY17" fmla="*/ 51001 h 528057"/>
                <a:gd name="connsiteX18" fmla="*/ 242284 w 1206736"/>
                <a:gd name="connsiteY18" fmla="*/ 83362 h 528057"/>
                <a:gd name="connsiteX19" fmla="*/ 309136 w 1206736"/>
                <a:gd name="connsiteY19" fmla="*/ 58239 h 528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06736" h="528057">
                  <a:moveTo>
                    <a:pt x="1024065" y="444872"/>
                  </a:moveTo>
                  <a:cubicBezTo>
                    <a:pt x="911652" y="478085"/>
                    <a:pt x="774968" y="492562"/>
                    <a:pt x="641265" y="492562"/>
                  </a:cubicBezTo>
                  <a:cubicBezTo>
                    <a:pt x="301897" y="492562"/>
                    <a:pt x="83032" y="392923"/>
                    <a:pt x="67703" y="261349"/>
                  </a:cubicBezTo>
                  <a:cubicBezTo>
                    <a:pt x="62168" y="211955"/>
                    <a:pt x="100916" y="163839"/>
                    <a:pt x="165639" y="122962"/>
                  </a:cubicBezTo>
                  <a:cubicBezTo>
                    <a:pt x="154142" y="114446"/>
                    <a:pt x="146903" y="100820"/>
                    <a:pt x="146478" y="85491"/>
                  </a:cubicBezTo>
                  <a:cubicBezTo>
                    <a:pt x="52800" y="134885"/>
                    <a:pt x="0" y="199607"/>
                    <a:pt x="0" y="265181"/>
                  </a:cubicBezTo>
                  <a:cubicBezTo>
                    <a:pt x="0" y="410381"/>
                    <a:pt x="259316" y="533014"/>
                    <a:pt x="644671" y="527904"/>
                  </a:cubicBezTo>
                  <a:cubicBezTo>
                    <a:pt x="778800" y="526201"/>
                    <a:pt x="890788" y="507039"/>
                    <a:pt x="992130" y="473826"/>
                  </a:cubicBezTo>
                  <a:cubicBezTo>
                    <a:pt x="1112633" y="434652"/>
                    <a:pt x="1188427" y="378446"/>
                    <a:pt x="1206736" y="353749"/>
                  </a:cubicBezTo>
                  <a:cubicBezTo>
                    <a:pt x="1185020" y="373336"/>
                    <a:pt x="1133498" y="412510"/>
                    <a:pt x="1024065" y="444872"/>
                  </a:cubicBezTo>
                  <a:close/>
                  <a:moveTo>
                    <a:pt x="309136" y="58239"/>
                  </a:moveTo>
                  <a:cubicBezTo>
                    <a:pt x="331703" y="50575"/>
                    <a:pt x="363639" y="40781"/>
                    <a:pt x="363639" y="40781"/>
                  </a:cubicBezTo>
                  <a:cubicBezTo>
                    <a:pt x="453484" y="16084"/>
                    <a:pt x="552697" y="1607"/>
                    <a:pt x="645097" y="2459"/>
                  </a:cubicBezTo>
                  <a:cubicBezTo>
                    <a:pt x="538645" y="-3928"/>
                    <a:pt x="441562" y="2459"/>
                    <a:pt x="356826" y="17788"/>
                  </a:cubicBezTo>
                  <a:cubicBezTo>
                    <a:pt x="356826" y="17788"/>
                    <a:pt x="328723" y="22472"/>
                    <a:pt x="298490" y="30136"/>
                  </a:cubicBezTo>
                  <a:cubicBezTo>
                    <a:pt x="298490" y="30136"/>
                    <a:pt x="284013" y="33968"/>
                    <a:pt x="275071" y="36523"/>
                  </a:cubicBezTo>
                  <a:cubicBezTo>
                    <a:pt x="266129" y="39078"/>
                    <a:pt x="253781" y="42484"/>
                    <a:pt x="253781" y="42484"/>
                  </a:cubicBezTo>
                  <a:cubicBezTo>
                    <a:pt x="245265" y="45039"/>
                    <a:pt x="236749" y="48020"/>
                    <a:pt x="228232" y="51001"/>
                  </a:cubicBezTo>
                  <a:cubicBezTo>
                    <a:pt x="236749" y="59517"/>
                    <a:pt x="241858" y="70588"/>
                    <a:pt x="242284" y="83362"/>
                  </a:cubicBezTo>
                  <a:cubicBezTo>
                    <a:pt x="257187" y="76549"/>
                    <a:pt x="285716" y="66330"/>
                    <a:pt x="309136" y="58239"/>
                  </a:cubicBezTo>
                  <a:close/>
                </a:path>
              </a:pathLst>
            </a:custGeom>
            <a:solidFill>
              <a:srgbClr val="E30034"/>
            </a:solidFill>
            <a:ln w="42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noProof="0" dirty="0"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3" name="empower - DO NOT DELETE!!!" hidden="1"/>
          <p:cNvSpPr/>
          <p:nvPr userDrawn="1">
            <p:custDataLst>
              <p:tags r:id="rId23"/>
            </p:custDataLst>
          </p:nvPr>
        </p:nvSpPr>
        <p:spPr bwMode="auto">
          <a:xfrm>
            <a:off x="0" y="0"/>
            <a:ext cx="0" cy="0"/>
          </a:xfrm>
          <a:prstGeom prst="ellipse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lvl="0"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4" name="Fixed Page Placeholder">
            <a:extLst>
              <a:ext uri="{FF2B5EF4-FFF2-40B4-BE49-F238E27FC236}">
                <a16:creationId xmlns:a16="http://schemas.microsoft.com/office/drawing/2014/main" id="{E361B9A9-2219-4F44-982D-701D7F2A6185}"/>
              </a:ext>
            </a:extLst>
          </p:cNvPr>
          <p:cNvSpPr txBox="1"/>
          <p:nvPr userDrawn="1"/>
        </p:nvSpPr>
        <p:spPr bwMode="auto">
          <a:xfrm>
            <a:off x="11471403" y="6489341"/>
            <a:ext cx="384048" cy="3614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r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Tx/>
              <a:buNone/>
              <a:tabLst/>
            </a:pPr>
            <a:fld id="{AE05A9AF-4D70-4052-9354-7E4D957B036D}" type="slidenum">
              <a:rPr lang="de-DE" sz="800" b="1" kern="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marL="0" marR="0" indent="0" algn="r" defTabSz="576000" eaLnBrk="0" fontAlgn="auto" latinLnBrk="0" hangingPunct="0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Tx/>
                <a:buFontTx/>
                <a:buNone/>
                <a:tabLst/>
              </a:pPr>
              <a:t>‹#›</a:t>
            </a:fld>
            <a:endParaRPr lang="de-DE" sz="800" b="1" kern="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55" r:id="rId2"/>
    <p:sldLayoutId id="2147483751" r:id="rId3"/>
    <p:sldLayoutId id="2147483729" r:id="rId4"/>
    <p:sldLayoutId id="2147483730" r:id="rId5"/>
    <p:sldLayoutId id="2147483731" r:id="rId6"/>
    <p:sldLayoutId id="2147483747" r:id="rId7"/>
    <p:sldLayoutId id="2147483756" r:id="rId8"/>
    <p:sldLayoutId id="2147483732" r:id="rId9"/>
    <p:sldLayoutId id="2147483733" r:id="rId10"/>
    <p:sldLayoutId id="2147483734" r:id="rId11"/>
    <p:sldLayoutId id="2147483735" r:id="rId12"/>
    <p:sldLayoutId id="2147483736" r:id="rId13"/>
    <p:sldLayoutId id="2147483737" r:id="rId14"/>
    <p:sldLayoutId id="2147483738" r:id="rId15"/>
    <p:sldLayoutId id="2147483739" r:id="rId16"/>
    <p:sldLayoutId id="2147483754" r:id="rId17"/>
    <p:sldLayoutId id="2147483753" r:id="rId18"/>
  </p:sldLayoutIdLst>
  <p:hf hdr="0" dt="0"/>
  <p:txStyles>
    <p:titleStyle>
      <a:lvl1pPr algn="l" defTabSz="576000" rtl="0" eaLnBrk="1" fontAlgn="base" hangingPunct="1">
        <a:spcBef>
          <a:spcPct val="0"/>
        </a:spcBef>
        <a:spcAft>
          <a:spcPct val="0"/>
        </a:spcAft>
        <a:buClr>
          <a:schemeClr val="tx1"/>
        </a:buClr>
        <a:buFontTx/>
        <a:buNone/>
        <a:defRPr sz="24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5pPr>
      <a:lvl6pPr marL="609585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6pPr>
      <a:lvl7pPr marL="1219170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7pPr>
      <a:lvl8pPr marL="1828754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8pPr>
      <a:lvl9pPr marL="2438339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9pPr>
    </p:titleStyle>
    <p:bodyStyle>
      <a:lvl1pPr marL="252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800" baseline="0">
          <a:solidFill>
            <a:schemeClr val="tx1"/>
          </a:solidFill>
          <a:latin typeface="+mn-lt"/>
          <a:ea typeface="+mn-ea"/>
          <a:cs typeface="+mn-cs"/>
        </a:defRPr>
      </a:lvl1pPr>
      <a:lvl2pPr marL="504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600">
          <a:solidFill>
            <a:schemeClr val="tx1"/>
          </a:solidFill>
          <a:latin typeface="+mn-lt"/>
          <a:cs typeface="+mn-cs"/>
        </a:defRPr>
      </a:lvl2pPr>
      <a:lvl3pPr marL="756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400" baseline="0">
          <a:solidFill>
            <a:schemeClr val="tx1"/>
          </a:solidFill>
          <a:latin typeface="+mn-lt"/>
          <a:cs typeface="+mn-cs"/>
        </a:defRPr>
      </a:lvl3pPr>
      <a:lvl4pPr marL="756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400" baseline="0">
          <a:solidFill>
            <a:schemeClr val="tx1"/>
          </a:solidFill>
          <a:latin typeface="+mn-lt"/>
          <a:cs typeface="+mn-cs"/>
        </a:defRPr>
      </a:lvl4pPr>
      <a:lvl5pPr marL="756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400" baseline="0">
          <a:solidFill>
            <a:schemeClr val="tx1"/>
          </a:solidFill>
          <a:latin typeface="+mn-lt"/>
          <a:cs typeface="+mn-cs"/>
        </a:defRPr>
      </a:lvl5pPr>
      <a:lvl6pPr marL="756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Font typeface="Arial" panose="020B0604020202020204" pitchFamily="34" charset="0"/>
        <a:buChar char="‒"/>
        <a:defRPr sz="1400" baseline="0">
          <a:solidFill>
            <a:schemeClr val="tx1"/>
          </a:solidFill>
          <a:latin typeface="+mn-lt"/>
          <a:cs typeface="+mn-cs"/>
        </a:defRPr>
      </a:lvl6pPr>
      <a:lvl7pPr marL="756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‒"/>
        <a:defRPr sz="1400">
          <a:solidFill>
            <a:schemeClr val="tx1"/>
          </a:solidFill>
          <a:latin typeface="+mn-lt"/>
          <a:cs typeface="+mn-cs"/>
        </a:defRPr>
      </a:lvl7pPr>
      <a:lvl8pPr marL="756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‒"/>
        <a:defRPr sz="1400">
          <a:solidFill>
            <a:schemeClr val="tx1"/>
          </a:solidFill>
          <a:latin typeface="+mn-lt"/>
          <a:cs typeface="+mn-cs"/>
        </a:defRPr>
      </a:lvl8pPr>
      <a:lvl9pPr marL="756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‒"/>
        <a:defRPr sz="1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>
            <a:extLst>
              <a:ext uri="{FF2B5EF4-FFF2-40B4-BE49-F238E27FC236}">
                <a16:creationId xmlns:a16="http://schemas.microsoft.com/office/drawing/2014/main" id="{982B5392-A445-8360-5F31-DDDB4CF3EF4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B6903CB-95FE-5055-C1EC-BC729CEC8CA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663E9915-4F94-C4BE-F39A-2E0FC1BE18A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21AFF28-0883-405B-A8DD-D42393A233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37017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AE92E142-CF5A-B9C7-ADBE-AAD6B1E5F9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0129625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1D7D40D5-B09B-6322-612B-9B73E1ED3840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6F534964-88F1-3188-966D-D25A9D6C56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2567289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951358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NCLMASTER" val="0"/>
  <p:tag name="SLIDESPERROW" val="4"/>
  <p:tag name="THUMBWIDTH" val="220"/>
  <p:tag name="INFINEON_CATEGORY" val="{&quot;CategoryList&quot;:[],&quot;CategoryDictionary&quot;:{}}"/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YBAQEBAQEBAQEBAQEBAQIAAAAAAAAAAwAAAAMAAAAA/////wQASw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10GBAEGmsRCrWeMKWDzcgcFAAAAAAADAAAAAAADAAAAAwADAAEA////////BAAAAAMAEAALVNGgrCHzak+1I7mkeTCCY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F0GBAEGmsRCrWeMKWDzcgcDRGF0YQAbAAAABExpbmtlZFNoYXBlRGF0YQAFAAAAAAACTmFtZQAZAAAATGlua2VkU2hhcGVzRGF0YVByb3BlcnR5ABBWZXJzaW9uAAAAAAAJTGFzdFdyaXRlAEHvOgOCAQAAAAEA/////8YAxgAAAAVfaWQAEAAAAARU0aCsIfNqT7UjuaR5MIJhA0RhdGEAUwAAAAhQcmVzZW50YXRpb25TY2FubmVkRm9yTGlua2VkU2hhcGVzAAECTnVtYmVyRm9ybWF0U2VwYXJhdG9yTW9kZQAKAAAAQXV0b21hdGljAAACTmFtZQAkAAAATGlua2VkU2hhcGVQcmVzZW50YXRpb25TZXR0aW5nc0RhdGEAEFZlcnNpb24AAAAAAAlMYXN0V3JpdGUAWe86A4I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and_Two_ColumnsMIOPlaceholderMapping.11MIOPlaceholderMapping-Infineon 16:9MIOPlaceholderMapping.Row | 2 columnsMIOPlaceholderMapping.10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Two_Columns_RowMIOPlaceholderMapping.12MIOPlaceholderMapping-Infineon 16:9MIOPlaceholderMapping.Row | 2 columns | rowMIOPlaceholderMapping.11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Three_ColumnsMIOPlaceholderMapping.13MIOPlaceholderMapping-Infineon 16:9MIOPlaceholderMapping.3 columnsMIOPlaceholderMapping.12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and_Three_ColumnsMIOPlaceholderMapping.14MIOPlaceholderMapping-Infineon 16:9MIOPlaceholderMapping.Row | 3 columnsMIOPlaceholderMapping.13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PresentationTitle_1MIOPlaceholderMapping.2MIOPlaceholderMapping-Infineon 16:9MIOPlaceholderMapping.Presentation title 1MIOPlaceholderMapping.1MIOPlaceholderMapping;Infineon 16:9MIOPlaceholderMapping.IFX_PresentationTitle_2MIOPlaceholderMapping.3MIOPlaceholderMapping-Infineon 16:9MIOPlaceholderMapping.Presentation title 1MIOPlaceholderMapping.1MIOPlaceholderMapping;Infineon 16:9MIOPlaceholderMapping.IFX_PresentationTitle_3MIOPlaceholderMapping.4MIOPlaceholderMapping-Infineon 16:9MIOPlaceholderMapping.Presentation title 1MIOPlaceholderMapping.1MIOPlaceholderMapping;Infineon 16:9MIOPlaceholderMapping.IFX_PresentationTitle_1MIOPlaceholderMapping.2MIOPlaceholderMapping.Picture Placeholder 20MIOPlaceholderMapping.18MIOPlaceholderMapping-Infineon 16:9MIOPlaceholderMapping.Presentation title 1MIOPlaceholderMapping.1MIOPlaceholderMapping.Crystal Picture PlaceholderMIOPlaceholderMapping.15MIOPlaceholderMapping;Infineon 16:9MIOPlaceholderMapping.IFX_PresentationTitle_2MIOPlaceholderMapping.3MIOPlaceholderMapping.Picture Placeholder 20MIOPlaceholderMapping.14MIOPlaceholderMapping-Infineon 16:9MIOPlaceholderMapping.Presentation title 1MIOPlaceholderMapping.1MIOPlaceholderMapping.Crystal Picture PlaceholderMIOPlaceholderMapping.15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Four_ColumnsMIOPlaceholderMapping.15MIOPlaceholderMapping-Infineon 16:9MIOPlaceholderMapping.4 columnsMIOPlaceholderMapping.1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and_Four_ColumnsMIOPlaceholderMapping.16MIOPlaceholderMapping-Infineon 16:9MIOPlaceholderMapping.Row | 4 columnsMIOPlaceholderMapping.15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EmptyMIOPlaceholderMapping.17MIOPlaceholderMapping-Infineon 16:9MIOPlaceholderMapping.EmptyMIOPlaceholderMapping.16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FullpicMIOPlaceholderMapping.18MIOPlaceholderMapping-Infineon 16:9MIOPlaceholderMapping.FullpicMIOPlaceholderMapping.17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Final_ClaimMIOPlaceholderMapping.19MIOPlaceholderMapping-Infineon 16:9MIOPlaceholderMapping.FinalMIOPlaceholderMapping.18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PresentationTitleMIOPlaceholderMapping.1MIOPlaceholderMapping-Infineon 16:9MIOPlaceholderMapping.Presentation title 3MIOPlaceholderMapping.3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OnlyMIOPlaceholderMapping.5MIOPlaceholderMapping-Infineon 16:9MIOPlaceholderMapping.Title OnlyMIOPlaceholderMapping.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4"/>
  <p:tag name="MIO_SHOW_DATE" val="False"/>
  <p:tag name="MIO_SHOW_FOOTER" val="False"/>
  <p:tag name="MIO_SHOW_PAGENUMBER" val="False"/>
  <p:tag name="MIO_AVOID_BLANK_LAYOUT" val="False"/>
  <p:tag name="MIO_CD_LAYOUT_VALID_AREA" val="False"/>
  <p:tag name="MIO_EMBED_FONT" val="False"/>
  <p:tag name="MIO_MATCH_COLOR_SCHEME" val="True"/>
  <p:tag name="MIO_NUMBER_OF_VALID_LAYOUTS" val="18"/>
  <p:tag name="MIO_HDS" val="True"/>
  <p:tag name="MIO_SKIPVERSION" val="01.01.0001 00:00:00"/>
  <p:tag name="MIO_EKGUID" val="f8120ca7-cceb-428f-a7d0-f20ce9397e1b"/>
  <p:tag name="MIO_UPDATE" val="True"/>
  <p:tag name="MIO_VERSION" val="24.03.2023 13:40:32"/>
  <p:tag name="MIO_DBID" val="FDE84254-54DB-49E3-9A0E-CDE72035D530"/>
  <p:tag name="MIO_LASTDOWNLOADED" val="29.03.2023 09:02:32.159"/>
  <p:tag name="MIO_OBJECTNAME" val="Infineon LCD 16:9 -- 2023"/>
  <p:tag name="MIO_CDID" val="e2fc2f9e-d5cf-4311-b3a1-0559b8fd1ab8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ContentMIOPlaceholderMapping.6MIOPlaceholderMapping-Infineon 16:9MIOPlaceholderMapping.Title | contentMIOPlaceholderMapping.5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Two_ContentMIOPlaceholderMapping.8MIOPlaceholderMapping-Infineon 16:9MIOPlaceholderMapping.2 contentsMIOPlaceholderMapping.6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SectionMIOPlaceholderMapping.9MIOPlaceholderMapping-Infineon 16:9MIOPlaceholderMapping.Section 1MIOPlaceholderMapping.7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Four_ContentMIOPlaceholderMapping.10MIOPlaceholderMapping-Infineon 16:9MIOPlaceholderMapping.4 contentsMIOPlaceholderMapping.9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Infineon 16:9">
  <a:themeElements>
    <a:clrScheme name="Infineon 2023 - 2">
      <a:dk1>
        <a:srgbClr val="1D1D1D"/>
      </a:dk1>
      <a:lt1>
        <a:srgbClr val="FFFFFF"/>
      </a:lt1>
      <a:dk2>
        <a:srgbClr val="0A8276"/>
      </a:dk2>
      <a:lt2>
        <a:srgbClr val="8D8786"/>
      </a:lt2>
      <a:accent1>
        <a:srgbClr val="0A8276"/>
      </a:accent1>
      <a:accent2>
        <a:srgbClr val="575352"/>
      </a:accent2>
      <a:accent3>
        <a:srgbClr val="F97414"/>
      </a:accent3>
      <a:accent4>
        <a:srgbClr val="9BBA43"/>
      </a:accent4>
      <a:accent5>
        <a:srgbClr val="FCD442"/>
      </a:accent5>
      <a:accent6>
        <a:srgbClr val="9C216E"/>
      </a:accent6>
      <a:hlink>
        <a:srgbClr val="0A8276"/>
      </a:hlink>
      <a:folHlink>
        <a:srgbClr val="0A8276"/>
      </a:folHlink>
    </a:clrScheme>
    <a:fontScheme name="Infineon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9525">
          <a:noFill/>
          <a:miter lim="800000"/>
          <a:headEnd/>
          <a:tailEnd/>
        </a:ln>
      </a:spPr>
      <a:bodyPr wrap="square" lIns="72000" tIns="72000" rIns="72000" bIns="72000" rtlCol="0" anchor="ctr"/>
      <a:lstStyle>
        <a:defPPr algn="ctr" defTabSz="576000" eaLnBrk="0" hangingPunct="0">
          <a:lnSpc>
            <a:spcPct val="120000"/>
          </a:lnSpc>
          <a:defRPr sz="1600" baseline="0" dirty="0">
            <a:solidFill>
              <a:schemeClr val="bg1"/>
            </a:solidFill>
            <a:latin typeface="+mn-lt"/>
            <a:ea typeface="+mn-ea"/>
            <a:cs typeface="+mn-cs"/>
          </a:defRPr>
        </a:defPPr>
      </a:lstStyle>
    </a:spDef>
    <a:lnDef>
      <a:spPr>
        <a:ln w="9525">
          <a:solidFill>
            <a:schemeClr val="bg2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  <a:effectLst/>
      </a:spPr>
      <a:bodyPr wrap="square" lIns="0" tIns="0" rIns="0" bIns="0" rtlCol="0" anchor="t" anchorCtr="0">
        <a:spAutoFit/>
      </a:bodyPr>
      <a:lstStyle>
        <a:defPPr marL="252000" marR="0" indent="-252000" algn="l" defTabSz="576000" eaLnBrk="0" fontAlgn="auto" latinLnBrk="0" hangingPunct="0">
          <a:lnSpc>
            <a:spcPct val="120000"/>
          </a:lnSpc>
          <a:spcBef>
            <a:spcPts val="0"/>
          </a:spcBef>
          <a:spcAft>
            <a:spcPts val="0"/>
          </a:spcAft>
          <a:buClr>
            <a:schemeClr val="tx2"/>
          </a:buClr>
          <a:buSzTx/>
          <a:buFont typeface="Arial" panose="020B0604020202020204" pitchFamily="34" charset="0"/>
          <a:buChar char="‒"/>
          <a:tabLst/>
          <a:defRPr sz="1800" kern="0" baseline="0" dirty="0"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Ocean 100">
      <a:srgbClr val="0A8276"/>
    </a:custClr>
    <a:custClr name="Ocean 80">
      <a:srgbClr val="3B9B91"/>
    </a:custClr>
    <a:custClr name="Ocean 60">
      <a:srgbClr val="6CB4AD"/>
    </a:custClr>
    <a:custClr name="Ocean 40">
      <a:srgbClr val="B8DEDA"/>
    </a:custClr>
    <a:custClr name="White">
      <a:srgbClr val="FFFFFF"/>
    </a:custClr>
    <a:custClr name="White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Lawn Main">
      <a:srgbClr val="9BBA43"/>
    </a:custClr>
    <a:custClr name="Berry Main">
      <a:srgbClr val="9C216E"/>
    </a:custClr>
    <a:custClr name="Engineering Main">
      <a:srgbClr val="575352"/>
    </a:custClr>
    <a:custClr name="Sun Main">
      <a:srgbClr val="F97414"/>
    </a:custClr>
    <a:custClr name="Sand Main">
      <a:srgbClr val="FCD442"/>
    </a:custClr>
    <a:custClr name="White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Lawn Light">
      <a:srgbClr val="B9D257"/>
    </a:custClr>
    <a:custClr name="Berry Light">
      <a:srgbClr val="BE3283"/>
    </a:custClr>
    <a:custClr name="Engineering Light">
      <a:srgbClr val="8D8786"/>
    </a:custClr>
    <a:custClr name="Sun Light">
      <a:srgbClr val="FF9737"/>
    </a:custClr>
    <a:custClr name="Sand Light">
      <a:srgbClr val="FBE273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Grey 300 ">
      <a:srgbClr val="DCD5D7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</a:custClrLst>
  <a:extLst>
    <a:ext uri="{05A4C25C-085E-4340-85A3-A5531E510DB2}">
      <thm15:themeFamily xmlns:thm15="http://schemas.microsoft.com/office/thememl/2012/main" name="Default Theme" id="{BA5385AD-EBD4-4914-A57B-0D5DD28EB329}" vid="{1C66E27A-8261-4319-9AD4-EC5D5C5EC2BB}"/>
    </a:ext>
  </a:extLst>
</a:theme>
</file>

<file path=ppt/theme/theme2.xml><?xml version="1.0" encoding="utf-8"?>
<a:theme xmlns:a="http://schemas.openxmlformats.org/drawingml/2006/main" name="Larissa-Design">
  <a:themeElements>
    <a:clrScheme name="Infineon">
      <a:dk1>
        <a:srgbClr val="000000"/>
      </a:dk1>
      <a:lt1>
        <a:srgbClr val="FFFFFF"/>
      </a:lt1>
      <a:dk2>
        <a:srgbClr val="FFE054"/>
      </a:dk2>
      <a:lt2>
        <a:srgbClr val="E9E6E6"/>
      </a:lt2>
      <a:accent1>
        <a:srgbClr val="E30034"/>
      </a:accent1>
      <a:accent2>
        <a:srgbClr val="928285"/>
      </a:accent2>
      <a:accent3>
        <a:srgbClr val="84B6A7"/>
      </a:accent3>
      <a:accent4>
        <a:srgbClr val="AEC067"/>
      </a:accent4>
      <a:accent5>
        <a:srgbClr val="EE813C"/>
      </a:accent5>
      <a:accent6>
        <a:srgbClr val="AB377A"/>
      </a:accent6>
      <a:hlink>
        <a:srgbClr val="1122CC"/>
      </a:hlink>
      <a:folHlink>
        <a:srgbClr val="1122CC"/>
      </a:folHlink>
    </a:clrScheme>
    <a:fontScheme name="Infineon Fonts">
      <a:majorFont>
        <a:latin typeface="Verdana"/>
        <a:ea typeface=""/>
        <a:cs typeface="Verdana"/>
      </a:majorFont>
      <a:minorFont>
        <a:latin typeface="Verdana"/>
        <a:ea typeface=""/>
        <a:cs typeface="Verdana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Infineon_ColorTheme_2012">
      <a:dk1>
        <a:srgbClr val="00214A"/>
      </a:dk1>
      <a:lt1>
        <a:srgbClr val="FFFFFF"/>
      </a:lt1>
      <a:dk2>
        <a:srgbClr val="00214A"/>
      </a:dk2>
      <a:lt2>
        <a:srgbClr val="C8D8E6"/>
      </a:lt2>
      <a:accent1>
        <a:srgbClr val="B70D28"/>
      </a:accent1>
      <a:accent2>
        <a:srgbClr val="E3EBF2"/>
      </a:accent2>
      <a:accent3>
        <a:srgbClr val="005DA9"/>
      </a:accent3>
      <a:accent4>
        <a:srgbClr val="969696"/>
      </a:accent4>
      <a:accent5>
        <a:srgbClr val="FDC400"/>
      </a:accent5>
      <a:accent6>
        <a:srgbClr val="009651"/>
      </a:accent6>
      <a:hlink>
        <a:srgbClr val="1122CC"/>
      </a:hlink>
      <a:folHlink>
        <a:srgbClr val="1122CC"/>
      </a:folHlink>
    </a:clrScheme>
    <a:fontScheme name="Infineon Fonts">
      <a:majorFont>
        <a:latin typeface="Verdana"/>
        <a:ea typeface=""/>
        <a:cs typeface="Verdana"/>
      </a:majorFont>
      <a:minorFont>
        <a:latin typeface="Verdana"/>
        <a:ea typeface=""/>
        <a:cs typeface="Verdana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customXsn xmlns="http://schemas.microsoft.com/office/2006/metadata/customXsn">
  <xsnLocation/>
  <cached>True</cached>
  <openByDefault>False</openByDefault>
  <xsnScope/>
</customXsn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655AAE9148B404486CBFDD74AD2AA0B" ma:contentTypeVersion="2" ma:contentTypeDescription="Create a new document." ma:contentTypeScope="" ma:versionID="a24cc1775e4f53b56bd6bf310015a115">
  <xsd:schema xmlns:xsd="http://www.w3.org/2001/XMLSchema" xmlns:xs="http://www.w3.org/2001/XMLSchema" xmlns:p="http://schemas.microsoft.com/office/2006/metadata/properties" xmlns:ns2="a709603d-609a-478b-a91d-3c5e984c0e79" xmlns:ns3="6ef45842-284e-44e4-b2db-1749e7948b44" targetNamespace="http://schemas.microsoft.com/office/2006/metadata/properties" ma:root="true" ma:fieldsID="f8923fe8aa0ace7ab58ef4ccc8b43a85" ns2:_="" ns3:_="">
    <xsd:import namespace="a709603d-609a-478b-a91d-3c5e984c0e79"/>
    <xsd:import namespace="6ef45842-284e-44e4-b2db-1749e7948b44"/>
    <xsd:element name="properties">
      <xsd:complexType>
        <xsd:sequence>
          <xsd:element name="documentManagement">
            <xsd:complexType>
              <xsd:all>
                <xsd:element ref="ns2:Ver" minOccurs="0"/>
                <xsd:element ref="ns3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709603d-609a-478b-a91d-3c5e984c0e79" elementFormDefault="qualified">
    <xsd:import namespace="http://schemas.microsoft.com/office/2006/documentManagement/types"/>
    <xsd:import namespace="http://schemas.microsoft.com/office/infopath/2007/PartnerControls"/>
    <xsd:element name="Ver" ma:index="8" nillable="true" ma:displayName="Ver" ma:default="0" ma:internalName="Ver" ma:percentage="FALSE">
      <xsd:simpleType>
        <xsd:restriction base="dms:Number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ef45842-284e-44e4-b2db-1749e7948b44" elementFormDefault="qualified">
    <xsd:import namespace="http://schemas.microsoft.com/office/2006/documentManagement/types"/>
    <xsd:import namespace="http://schemas.microsoft.com/office/infopath/2007/PartnerControls"/>
    <xsd:element name="SharedWithUsers" ma:index="9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Ver xmlns="a709603d-609a-478b-a91d-3c5e984c0e79">0</Ver>
  </documentManagement>
</p:properties>
</file>

<file path=customXml/itemProps1.xml><?xml version="1.0" encoding="utf-8"?>
<ds:datastoreItem xmlns:ds="http://schemas.openxmlformats.org/officeDocument/2006/customXml" ds:itemID="{EC144A13-A380-40B3-9980-61BD11F58D02}">
  <ds:schemaRefs>
    <ds:schemaRef ds:uri="http://schemas.microsoft.com/office/2006/metadata/customXsn"/>
  </ds:schemaRefs>
</ds:datastoreItem>
</file>

<file path=customXml/itemProps2.xml><?xml version="1.0" encoding="utf-8"?>
<ds:datastoreItem xmlns:ds="http://schemas.openxmlformats.org/officeDocument/2006/customXml" ds:itemID="{AF2014AB-78C2-4F59-9D6E-9572E72F778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709603d-609a-478b-a91d-3c5e984c0e79"/>
    <ds:schemaRef ds:uri="6ef45842-284e-44e4-b2db-1749e7948b4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63C6748B-B74E-4BE1-834C-AEBB9BCA18FB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D299A1D5-F553-4264-9022-E0136C61CE27}">
  <ds:schemaRefs>
    <ds:schemaRef ds:uri="http://schemas.microsoft.com/office/infopath/2007/PartnerControls"/>
    <ds:schemaRef ds:uri="http://schemas.microsoft.com/office/2006/metadata/properties"/>
    <ds:schemaRef ds:uri="http://www.w3.org/XML/1998/namespace"/>
    <ds:schemaRef ds:uri="http://purl.org/dc/elements/1.1/"/>
    <ds:schemaRef ds:uri="http://schemas.openxmlformats.org/package/2006/metadata/core-properties"/>
    <ds:schemaRef ds:uri="a709603d-609a-478b-a91d-3c5e984c0e79"/>
    <ds:schemaRef ds:uri="http://schemas.microsoft.com/office/2006/documentManagement/types"/>
    <ds:schemaRef ds:uri="http://purl.org/dc/dcmitype/"/>
    <ds:schemaRef ds:uri="6ef45842-284e-44e4-b2db-1749e7948b44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0</TotalTime>
  <Words>0</Words>
  <Application>Microsoft Office PowerPoint</Application>
  <PresentationFormat>Widescreen</PresentationFormat>
  <Paragraphs>0</Paragraphs>
  <Slides>4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8" baseType="lpstr">
      <vt:lpstr>Arial</vt:lpstr>
      <vt:lpstr>Arial Unicode MS</vt:lpstr>
      <vt:lpstr>Verdana</vt:lpstr>
      <vt:lpstr>Infineon 16:9</vt:lpstr>
      <vt:lpstr>PowerPoint Presentation</vt:lpstr>
      <vt:lpstr>PowerPoint Presentation</vt:lpstr>
      <vt:lpstr>PowerPoint Presentation</vt:lpstr>
      <vt:lpstr>PowerPoint Presentation</vt:lpstr>
    </vt:vector>
  </TitlesOfParts>
  <Company>Infineon Technologie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ohl Verena (IFAG CP CC BSD / External)</dc:creator>
  <cp:lastModifiedBy>Madeyski Miguel (IFAG CP CC BSD)</cp:lastModifiedBy>
  <cp:revision>12</cp:revision>
  <dcterms:created xsi:type="dcterms:W3CDTF">2023-03-04T12:32:47Z</dcterms:created>
  <dcterms:modified xsi:type="dcterms:W3CDTF">2023-03-29T07:03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umentID">
    <vt:lpwstr/>
  </property>
  <property fmtid="{D5CDD505-2E9C-101B-9397-08002B2CF9AE}" pid="3" name="DocumentVersion">
    <vt:lpwstr/>
  </property>
  <property fmtid="{D5CDD505-2E9C-101B-9397-08002B2CF9AE}" pid="4" name="Proprietary">
    <vt:lpwstr/>
  </property>
  <property fmtid="{D5CDD505-2E9C-101B-9397-08002B2CF9AE}" pid="5" name="ConfidentialityMarking">
    <vt:lpwstr>restricted</vt:lpwstr>
  </property>
  <property fmtid="{D5CDD505-2E9C-101B-9397-08002B2CF9AE}" pid="6" name="AdditionalMarking">
    <vt:lpwstr/>
  </property>
  <property fmtid="{D5CDD505-2E9C-101B-9397-08002B2CF9AE}" pid="7" name="TemplateCompany">
    <vt:lpwstr>IFX</vt:lpwstr>
  </property>
  <property fmtid="{D5CDD505-2E9C-101B-9397-08002B2CF9AE}" pid="8" name="ContentTypeId">
    <vt:lpwstr>0x010100A655AAE9148B404486CBFDD74AD2AA0B</vt:lpwstr>
  </property>
  <property fmtid="{D5CDD505-2E9C-101B-9397-08002B2CF9AE}" pid="9" name="empower.integration.Classification.DocumentId">
    <vt:lpwstr/>
  </property>
  <property fmtid="{D5CDD505-2E9C-101B-9397-08002B2CF9AE}" pid="10" name="empower.integration.Classification.DocumentVersion">
    <vt:lpwstr/>
  </property>
  <property fmtid="{D5CDD505-2E9C-101B-9397-08002B2CF9AE}" pid="11" name="empower.integration.Classification.DocumentOwner">
    <vt:lpwstr/>
  </property>
  <property fmtid="{D5CDD505-2E9C-101B-9397-08002B2CF9AE}" pid="12" name="empower.integration.Classification.ShowFooter">
    <vt:bool>true</vt:bool>
  </property>
  <property fmtid="{D5CDD505-2E9C-101B-9397-08002B2CF9AE}" pid="13" name="empower.integration.Classification.RestrictionLevel">
    <vt:i4>1</vt:i4>
  </property>
  <property fmtid="{D5CDD505-2E9C-101B-9397-08002B2CF9AE}" pid="14" name="empower.integration.Classification.FooterDate">
    <vt:filetime>2023-03-18T12:11:36Z</vt:filetime>
  </property>
  <property fmtid="{D5CDD505-2E9C-101B-9397-08002B2CF9AE}" pid="15" name="empower.integration.Classification.DateFormat">
    <vt:lpwstr>d MMM yyyy</vt:lpwstr>
  </property>
  <property fmtid="{D5CDD505-2E9C-101B-9397-08002B2CF9AE}" pid="16" name="empower.integration.Classification.IsDraft">
    <vt:bool>false</vt:bool>
  </property>
  <property fmtid="{D5CDD505-2E9C-101B-9397-08002B2CF9AE}" pid="17" name="empower.integration.Classification.IsProprietary">
    <vt:bool>false</vt:bool>
  </property>
  <property fmtid="{D5CDD505-2E9C-101B-9397-08002B2CF9AE}" pid="18" name="empower.integration.Classification.HasAdditionalMarking">
    <vt:bool>false</vt:bool>
  </property>
  <property fmtid="{D5CDD505-2E9C-101B-9397-08002B2CF9AE}" pid="19" name="empower.integration.Classification.AdditionalMarking">
    <vt:lpwstr/>
  </property>
  <property fmtid="{D5CDD505-2E9C-101B-9397-08002B2CF9AE}" pid="20" name="empower.integration.Classification.IsEmpowerClassified">
    <vt:bool>true</vt:bool>
  </property>
  <property fmtid="{D5CDD505-2E9C-101B-9397-08002B2CF9AE}" pid="21" name="empower_migrated_document">
    <vt:lpwstr>true</vt:lpwstr>
  </property>
  <property fmtid="{D5CDD505-2E9C-101B-9397-08002B2CF9AE}" pid="22" name="MSIP_Label_a15a25aa-e944-415d-b7a7-40f6b9180b6b_Enabled">
    <vt:lpwstr>true</vt:lpwstr>
  </property>
  <property fmtid="{D5CDD505-2E9C-101B-9397-08002B2CF9AE}" pid="23" name="MSIP_Label_a15a25aa-e944-415d-b7a7-40f6b9180b6b_SetDate">
    <vt:lpwstr>2023-03-24T13:40:28Z</vt:lpwstr>
  </property>
  <property fmtid="{D5CDD505-2E9C-101B-9397-08002B2CF9AE}" pid="24" name="MSIP_Label_a15a25aa-e944-415d-b7a7-40f6b9180b6b_Method">
    <vt:lpwstr>Standard</vt:lpwstr>
  </property>
  <property fmtid="{D5CDD505-2E9C-101B-9397-08002B2CF9AE}" pid="25" name="MSIP_Label_a15a25aa-e944-415d-b7a7-40f6b9180b6b_Name">
    <vt:lpwstr>a15a25aa-e944-415d-b7a7-40f6b9180b6b</vt:lpwstr>
  </property>
  <property fmtid="{D5CDD505-2E9C-101B-9397-08002B2CF9AE}" pid="26" name="MSIP_Label_a15a25aa-e944-415d-b7a7-40f6b9180b6b_SiteId">
    <vt:lpwstr>eeb8d0e8-3544-41d3-aac6-934c309faf5a</vt:lpwstr>
  </property>
  <property fmtid="{D5CDD505-2E9C-101B-9397-08002B2CF9AE}" pid="27" name="MSIP_Label_a15a25aa-e944-415d-b7a7-40f6b9180b6b_ActionId">
    <vt:lpwstr>73b1d637-b020-4fda-a205-ff5e02ff8705</vt:lpwstr>
  </property>
  <property fmtid="{D5CDD505-2E9C-101B-9397-08002B2CF9AE}" pid="28" name="MSIP_Label_a15a25aa-e944-415d-b7a7-40f6b9180b6b_ContentBits">
    <vt:lpwstr>0</vt:lpwstr>
  </property>
</Properties>
</file>